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34.jpg" ContentType="image/jpg"/>
  <Override PartName="/ppt/media/image35.jpg" ContentType="image/jpg"/>
  <Override PartName="/ppt/media/image36.jpg" ContentType="image/jp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955" r:id="rId2"/>
    <p:sldId id="287" r:id="rId3"/>
    <p:sldId id="1002" r:id="rId4"/>
    <p:sldId id="1024" r:id="rId5"/>
    <p:sldId id="1025" r:id="rId6"/>
    <p:sldId id="1009" r:id="rId7"/>
    <p:sldId id="1011" r:id="rId8"/>
    <p:sldId id="1012" r:id="rId9"/>
    <p:sldId id="1026" r:id="rId10"/>
    <p:sldId id="956" r:id="rId11"/>
    <p:sldId id="996" r:id="rId12"/>
    <p:sldId id="929" r:id="rId13"/>
    <p:sldId id="958" r:id="rId14"/>
    <p:sldId id="928" r:id="rId15"/>
    <p:sldId id="938" r:id="rId16"/>
    <p:sldId id="987" r:id="rId17"/>
    <p:sldId id="988" r:id="rId18"/>
    <p:sldId id="989" r:id="rId19"/>
    <p:sldId id="1000" r:id="rId20"/>
    <p:sldId id="470" r:id="rId21"/>
    <p:sldId id="471" r:id="rId22"/>
    <p:sldId id="472" r:id="rId23"/>
    <p:sldId id="473" r:id="rId24"/>
    <p:sldId id="474" r:id="rId25"/>
    <p:sldId id="968" r:id="rId26"/>
    <p:sldId id="969" r:id="rId27"/>
    <p:sldId id="970" r:id="rId28"/>
    <p:sldId id="971" r:id="rId29"/>
    <p:sldId id="972" r:id="rId30"/>
    <p:sldId id="973" r:id="rId31"/>
    <p:sldId id="1023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AB7A86-EE21-1C41-BDE0-91B045280AA4}" v="16" dt="2019-08-22T01:08:09.1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66"/>
    <p:restoredTop sz="95106" autoAdjust="0"/>
  </p:normalViewPr>
  <p:slideViewPr>
    <p:cSldViewPr snapToGrid="0">
      <p:cViewPr varScale="1">
        <p:scale>
          <a:sx n="109" d="100"/>
          <a:sy n="109" d="100"/>
        </p:scale>
        <p:origin x="25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909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ubey, Abhishek" userId="fcebbf37-2e6b-4aaa-bd32-5ba1b6c49bdb" providerId="ADAL" clId="{F8AB7A86-EE21-1C41-BDE0-91B045280AA4}"/>
    <pc:docChg chg="undo custSel mod addSld delSld modSld">
      <pc:chgData name="Dubey, Abhishek" userId="fcebbf37-2e6b-4aaa-bd32-5ba1b6c49bdb" providerId="ADAL" clId="{F8AB7A86-EE21-1C41-BDE0-91B045280AA4}" dt="2019-08-22T01:09:14.452" v="206" actId="2696"/>
      <pc:docMkLst>
        <pc:docMk/>
      </pc:docMkLst>
      <pc:sldChg chg="del">
        <pc:chgData name="Dubey, Abhishek" userId="fcebbf37-2e6b-4aaa-bd32-5ba1b6c49bdb" providerId="ADAL" clId="{F8AB7A86-EE21-1C41-BDE0-91B045280AA4}" dt="2019-08-22T00:53:42.760" v="42" actId="2696"/>
        <pc:sldMkLst>
          <pc:docMk/>
          <pc:sldMk cId="3848387417" sldId="257"/>
        </pc:sldMkLst>
      </pc:sldChg>
      <pc:sldChg chg="del">
        <pc:chgData name="Dubey, Abhishek" userId="fcebbf37-2e6b-4aaa-bd32-5ba1b6c49bdb" providerId="ADAL" clId="{F8AB7A86-EE21-1C41-BDE0-91B045280AA4}" dt="2019-08-22T00:53:43.202" v="43" actId="2696"/>
        <pc:sldMkLst>
          <pc:docMk/>
          <pc:sldMk cId="2121775212" sldId="258"/>
        </pc:sldMkLst>
      </pc:sldChg>
      <pc:sldChg chg="del">
        <pc:chgData name="Dubey, Abhishek" userId="fcebbf37-2e6b-4aaa-bd32-5ba1b6c49bdb" providerId="ADAL" clId="{F8AB7A86-EE21-1C41-BDE0-91B045280AA4}" dt="2019-08-22T00:53:44.515" v="44" actId="2696"/>
        <pc:sldMkLst>
          <pc:docMk/>
          <pc:sldMk cId="3235842323" sldId="262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759230587" sldId="470"/>
        </pc:sldMkLst>
      </pc:sldChg>
      <pc:sldChg chg="del">
        <pc:chgData name="Dubey, Abhishek" userId="fcebbf37-2e6b-4aaa-bd32-5ba1b6c49bdb" providerId="ADAL" clId="{F8AB7A86-EE21-1C41-BDE0-91B045280AA4}" dt="2019-08-22T00:53:58.850" v="64" actId="2696"/>
        <pc:sldMkLst>
          <pc:docMk/>
          <pc:sldMk cId="2199684703" sldId="470"/>
        </pc:sldMkLst>
      </pc:sldChg>
      <pc:sldChg chg="del">
        <pc:chgData name="Dubey, Abhishek" userId="fcebbf37-2e6b-4aaa-bd32-5ba1b6c49bdb" providerId="ADAL" clId="{F8AB7A86-EE21-1C41-BDE0-91B045280AA4}" dt="2019-08-22T00:53:58.864" v="65" actId="2696"/>
        <pc:sldMkLst>
          <pc:docMk/>
          <pc:sldMk cId="2828222379" sldId="471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3075814736" sldId="471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342263919" sldId="472"/>
        </pc:sldMkLst>
      </pc:sldChg>
      <pc:sldChg chg="del">
        <pc:chgData name="Dubey, Abhishek" userId="fcebbf37-2e6b-4aaa-bd32-5ba1b6c49bdb" providerId="ADAL" clId="{F8AB7A86-EE21-1C41-BDE0-91B045280AA4}" dt="2019-08-22T00:53:58.879" v="66" actId="2696"/>
        <pc:sldMkLst>
          <pc:docMk/>
          <pc:sldMk cId="1428289971" sldId="472"/>
        </pc:sldMkLst>
      </pc:sldChg>
      <pc:sldChg chg="del">
        <pc:chgData name="Dubey, Abhishek" userId="fcebbf37-2e6b-4aaa-bd32-5ba1b6c49bdb" providerId="ADAL" clId="{F8AB7A86-EE21-1C41-BDE0-91B045280AA4}" dt="2019-08-22T00:53:58.894" v="67" actId="2696"/>
        <pc:sldMkLst>
          <pc:docMk/>
          <pc:sldMk cId="2565209866" sldId="473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696183322" sldId="473"/>
        </pc:sldMkLst>
      </pc:sldChg>
      <pc:sldChg chg="del">
        <pc:chgData name="Dubey, Abhishek" userId="fcebbf37-2e6b-4aaa-bd32-5ba1b6c49bdb" providerId="ADAL" clId="{F8AB7A86-EE21-1C41-BDE0-91B045280AA4}" dt="2019-08-22T00:53:58.905" v="68" actId="2696"/>
        <pc:sldMkLst>
          <pc:docMk/>
          <pc:sldMk cId="1919772797" sldId="474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796224016" sldId="474"/>
        </pc:sldMkLst>
      </pc:sldChg>
      <pc:sldChg chg="del">
        <pc:chgData name="Dubey, Abhishek" userId="fcebbf37-2e6b-4aaa-bd32-5ba1b6c49bdb" providerId="ADAL" clId="{F8AB7A86-EE21-1C41-BDE0-91B045280AA4}" dt="2019-08-22T00:53:58.681" v="48" actId="2696"/>
        <pc:sldMkLst>
          <pc:docMk/>
          <pc:sldMk cId="2366250910" sldId="695"/>
        </pc:sldMkLst>
      </pc:sldChg>
      <pc:sldChg chg="del">
        <pc:chgData name="Dubey, Abhishek" userId="fcebbf37-2e6b-4aaa-bd32-5ba1b6c49bdb" providerId="ADAL" clId="{F8AB7A86-EE21-1C41-BDE0-91B045280AA4}" dt="2019-08-22T00:53:58.714" v="49" actId="2696"/>
        <pc:sldMkLst>
          <pc:docMk/>
          <pc:sldMk cId="199479289" sldId="696"/>
        </pc:sldMkLst>
      </pc:sldChg>
      <pc:sldChg chg="del">
        <pc:chgData name="Dubey, Abhishek" userId="fcebbf37-2e6b-4aaa-bd32-5ba1b6c49bdb" providerId="ADAL" clId="{F8AB7A86-EE21-1C41-BDE0-91B045280AA4}" dt="2019-08-22T00:53:58.721" v="50" actId="2696"/>
        <pc:sldMkLst>
          <pc:docMk/>
          <pc:sldMk cId="2902121203" sldId="697"/>
        </pc:sldMkLst>
      </pc:sldChg>
      <pc:sldChg chg="del">
        <pc:chgData name="Dubey, Abhishek" userId="fcebbf37-2e6b-4aaa-bd32-5ba1b6c49bdb" providerId="ADAL" clId="{F8AB7A86-EE21-1C41-BDE0-91B045280AA4}" dt="2019-08-22T00:53:58.668" v="47" actId="2696"/>
        <pc:sldMkLst>
          <pc:docMk/>
          <pc:sldMk cId="884453754" sldId="704"/>
        </pc:sldMkLst>
      </pc:sldChg>
      <pc:sldChg chg="add del">
        <pc:chgData name="Dubey, Abhishek" userId="fcebbf37-2e6b-4aaa-bd32-5ba1b6c49bdb" providerId="ADAL" clId="{F8AB7A86-EE21-1C41-BDE0-91B045280AA4}" dt="2019-08-22T01:06:06.872" v="148" actId="2696"/>
        <pc:sldMkLst>
          <pc:docMk/>
          <pc:sldMk cId="2113272047" sldId="916"/>
        </pc:sldMkLst>
      </pc:sldChg>
      <pc:sldChg chg="add del">
        <pc:chgData name="Dubey, Abhishek" userId="fcebbf37-2e6b-4aaa-bd32-5ba1b6c49bdb" providerId="ADAL" clId="{F8AB7A86-EE21-1C41-BDE0-91B045280AA4}" dt="2019-08-22T01:06:06.981" v="155" actId="2696"/>
        <pc:sldMkLst>
          <pc:docMk/>
          <pc:sldMk cId="2191268061" sldId="923"/>
        </pc:sldMkLst>
      </pc:sldChg>
      <pc:sldChg chg="del">
        <pc:chgData name="Dubey, Abhishek" userId="fcebbf37-2e6b-4aaa-bd32-5ba1b6c49bdb" providerId="ADAL" clId="{F8AB7A86-EE21-1C41-BDE0-91B045280AA4}" dt="2019-08-22T00:53:58.760" v="55" actId="2696"/>
        <pc:sldMkLst>
          <pc:docMk/>
          <pc:sldMk cId="582759223" sldId="928"/>
        </pc:sldMkLst>
      </pc:sldChg>
      <pc:sldChg chg="add del">
        <pc:chgData name="Dubey, Abhishek" userId="fcebbf37-2e6b-4aaa-bd32-5ba1b6c49bdb" providerId="ADAL" clId="{F8AB7A86-EE21-1C41-BDE0-91B045280AA4}" dt="2019-08-22T01:06:06.843" v="144" actId="2696"/>
        <pc:sldMkLst>
          <pc:docMk/>
          <pc:sldMk cId="2140351328" sldId="928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337592424" sldId="928"/>
        </pc:sldMkLst>
      </pc:sldChg>
      <pc:sldChg chg="del">
        <pc:chgData name="Dubey, Abhishek" userId="fcebbf37-2e6b-4aaa-bd32-5ba1b6c49bdb" providerId="ADAL" clId="{F8AB7A86-EE21-1C41-BDE0-91B045280AA4}" dt="2019-08-22T00:53:58.745" v="53" actId="2696"/>
        <pc:sldMkLst>
          <pc:docMk/>
          <pc:sldMk cId="0" sldId="929"/>
        </pc:sldMkLst>
      </pc:sldChg>
      <pc:sldChg chg="add del">
        <pc:chgData name="Dubey, Abhishek" userId="fcebbf37-2e6b-4aaa-bd32-5ba1b6c49bdb" providerId="ADAL" clId="{F8AB7A86-EE21-1C41-BDE0-91B045280AA4}" dt="2019-08-22T01:06:06.831" v="143" actId="2696"/>
        <pc:sldMkLst>
          <pc:docMk/>
          <pc:sldMk cId="974340016" sldId="929"/>
        </pc:sldMkLst>
      </pc:sldChg>
      <pc:sldChg chg="modSp add">
        <pc:chgData name="Dubey, Abhishek" userId="fcebbf37-2e6b-4aaa-bd32-5ba1b6c49bdb" providerId="ADAL" clId="{F8AB7A86-EE21-1C41-BDE0-91B045280AA4}" dt="2019-08-22T01:08:44.911" v="204" actId="1076"/>
        <pc:sldMkLst>
          <pc:docMk/>
          <pc:sldMk cId="2726956865" sldId="929"/>
        </pc:sldMkLst>
        <pc:spChg chg="mod">
          <ac:chgData name="Dubey, Abhishek" userId="fcebbf37-2e6b-4aaa-bd32-5ba1b6c49bdb" providerId="ADAL" clId="{F8AB7A86-EE21-1C41-BDE0-91B045280AA4}" dt="2019-08-22T01:08:44.911" v="204" actId="1076"/>
          <ac:spMkLst>
            <pc:docMk/>
            <pc:sldMk cId="2726956865" sldId="929"/>
            <ac:spMk id="2" creationId="{00000000-0000-0000-0000-000000000000}"/>
          </ac:spMkLst>
        </pc:spChg>
      </pc:sldChg>
      <pc:sldChg chg="add del">
        <pc:chgData name="Dubey, Abhishek" userId="fcebbf37-2e6b-4aaa-bd32-5ba1b6c49bdb" providerId="ADAL" clId="{F8AB7A86-EE21-1C41-BDE0-91B045280AA4}" dt="2019-08-22T01:06:06.891" v="150" actId="2696"/>
        <pc:sldMkLst>
          <pc:docMk/>
          <pc:sldMk cId="2845784782" sldId="932"/>
        </pc:sldMkLst>
      </pc:sldChg>
      <pc:sldChg chg="add del">
        <pc:chgData name="Dubey, Abhishek" userId="fcebbf37-2e6b-4aaa-bd32-5ba1b6c49bdb" providerId="ADAL" clId="{F8AB7A86-EE21-1C41-BDE0-91B045280AA4}" dt="2019-08-22T01:06:06.906" v="151" actId="2696"/>
        <pc:sldMkLst>
          <pc:docMk/>
          <pc:sldMk cId="2736519329" sldId="936"/>
        </pc:sldMkLst>
      </pc:sldChg>
      <pc:sldChg chg="del">
        <pc:chgData name="Dubey, Abhishek" userId="fcebbf37-2e6b-4aaa-bd32-5ba1b6c49bdb" providerId="ADAL" clId="{F8AB7A86-EE21-1C41-BDE0-91B045280AA4}" dt="2019-08-22T00:53:58.766" v="57" actId="2696"/>
        <pc:sldMkLst>
          <pc:docMk/>
          <pc:sldMk cId="0" sldId="938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614166261" sldId="938"/>
        </pc:sldMkLst>
      </pc:sldChg>
      <pc:sldChg chg="add del">
        <pc:chgData name="Dubey, Abhishek" userId="fcebbf37-2e6b-4aaa-bd32-5ba1b6c49bdb" providerId="ADAL" clId="{F8AB7A86-EE21-1C41-BDE0-91B045280AA4}" dt="2019-08-22T01:06:06.855" v="146" actId="2696"/>
        <pc:sldMkLst>
          <pc:docMk/>
          <pc:sldMk cId="3630857452" sldId="938"/>
        </pc:sldMkLst>
      </pc:sldChg>
      <pc:sldChg chg="add del">
        <pc:chgData name="Dubey, Abhishek" userId="fcebbf37-2e6b-4aaa-bd32-5ba1b6c49bdb" providerId="ADAL" clId="{F8AB7A86-EE21-1C41-BDE0-91B045280AA4}" dt="2019-08-22T01:06:06.923" v="153" actId="2696"/>
        <pc:sldMkLst>
          <pc:docMk/>
          <pc:sldMk cId="1694505786" sldId="939"/>
        </pc:sldMkLst>
      </pc:sldChg>
      <pc:sldChg chg="add del">
        <pc:chgData name="Dubey, Abhishek" userId="fcebbf37-2e6b-4aaa-bd32-5ba1b6c49bdb" providerId="ADAL" clId="{F8AB7A86-EE21-1C41-BDE0-91B045280AA4}" dt="2019-08-22T01:06:07.105" v="159" actId="2696"/>
        <pc:sldMkLst>
          <pc:docMk/>
          <pc:sldMk cId="2236651431" sldId="941"/>
        </pc:sldMkLst>
      </pc:sldChg>
      <pc:sldChg chg="add del">
        <pc:chgData name="Dubey, Abhishek" userId="fcebbf37-2e6b-4aaa-bd32-5ba1b6c49bdb" providerId="ADAL" clId="{F8AB7A86-EE21-1C41-BDE0-91B045280AA4}" dt="2019-08-22T01:06:07.093" v="157" actId="2696"/>
        <pc:sldMkLst>
          <pc:docMk/>
          <pc:sldMk cId="1616828747" sldId="942"/>
        </pc:sldMkLst>
      </pc:sldChg>
      <pc:sldChg chg="add del">
        <pc:chgData name="Dubey, Abhishek" userId="fcebbf37-2e6b-4aaa-bd32-5ba1b6c49bdb" providerId="ADAL" clId="{F8AB7A86-EE21-1C41-BDE0-91B045280AA4}" dt="2019-08-22T01:06:07.195" v="166" actId="2696"/>
        <pc:sldMkLst>
          <pc:docMk/>
          <pc:sldMk cId="1230394916" sldId="953"/>
        </pc:sldMkLst>
      </pc:sldChg>
      <pc:sldChg chg="modSp">
        <pc:chgData name="Dubey, Abhishek" userId="fcebbf37-2e6b-4aaa-bd32-5ba1b6c49bdb" providerId="ADAL" clId="{F8AB7A86-EE21-1C41-BDE0-91B045280AA4}" dt="2019-08-22T00:53:32.047" v="41" actId="20577"/>
        <pc:sldMkLst>
          <pc:docMk/>
          <pc:sldMk cId="1805225091" sldId="955"/>
        </pc:sldMkLst>
        <pc:spChg chg="mod">
          <ac:chgData name="Dubey, Abhishek" userId="fcebbf37-2e6b-4aaa-bd32-5ba1b6c49bdb" providerId="ADAL" clId="{F8AB7A86-EE21-1C41-BDE0-91B045280AA4}" dt="2019-08-22T00:53:21.686" v="28" actId="20577"/>
          <ac:spMkLst>
            <pc:docMk/>
            <pc:sldMk cId="1805225091" sldId="955"/>
            <ac:spMk id="4" creationId="{0C035FED-50C4-1640-9017-FCD3508BDB5E}"/>
          </ac:spMkLst>
        </pc:spChg>
        <pc:spChg chg="mod">
          <ac:chgData name="Dubey, Abhishek" userId="fcebbf37-2e6b-4aaa-bd32-5ba1b6c49bdb" providerId="ADAL" clId="{F8AB7A86-EE21-1C41-BDE0-91B045280AA4}" dt="2019-08-22T00:53:32.047" v="41" actId="20577"/>
          <ac:spMkLst>
            <pc:docMk/>
            <pc:sldMk cId="1805225091" sldId="955"/>
            <ac:spMk id="5" creationId="{EDABC4E6-12A6-884A-8E42-F0173F6980C5}"/>
          </ac:spMkLst>
        </pc:spChg>
      </pc:sldChg>
      <pc:sldChg chg="addSp delSp modSp add setBg delDesignElem">
        <pc:chgData name="Dubey, Abhishek" userId="fcebbf37-2e6b-4aaa-bd32-5ba1b6c49bdb" providerId="ADAL" clId="{F8AB7A86-EE21-1C41-BDE0-91B045280AA4}" dt="2019-08-22T01:08:38.760" v="203" actId="478"/>
        <pc:sldMkLst>
          <pc:docMk/>
          <pc:sldMk cId="1895881425" sldId="956"/>
        </pc:sldMkLst>
        <pc:spChg chg="add del mod">
          <ac:chgData name="Dubey, Abhishek" userId="fcebbf37-2e6b-4aaa-bd32-5ba1b6c49bdb" providerId="ADAL" clId="{F8AB7A86-EE21-1C41-BDE0-91B045280AA4}" dt="2019-08-22T01:08:38.760" v="203" actId="478"/>
          <ac:spMkLst>
            <pc:docMk/>
            <pc:sldMk cId="1895881425" sldId="956"/>
            <ac:spMk id="3" creationId="{0D0DD001-26DF-6246-B0D5-028FED38E2D3}"/>
          </ac:spMkLst>
        </pc:spChg>
        <pc:spChg chg="mod">
          <ac:chgData name="Dubey, Abhishek" userId="fcebbf37-2e6b-4aaa-bd32-5ba1b6c49bdb" providerId="ADAL" clId="{F8AB7A86-EE21-1C41-BDE0-91B045280AA4}" dt="2019-08-22T01:08:31.810" v="201" actId="20577"/>
          <ac:spMkLst>
            <pc:docMk/>
            <pc:sldMk cId="1895881425" sldId="956"/>
            <ac:spMk id="4" creationId="{0C035FED-50C4-1640-9017-FCD3508BDB5E}"/>
          </ac:spMkLst>
        </pc:spChg>
        <pc:spChg chg="del">
          <ac:chgData name="Dubey, Abhishek" userId="fcebbf37-2e6b-4aaa-bd32-5ba1b6c49bdb" providerId="ADAL" clId="{F8AB7A86-EE21-1C41-BDE0-91B045280AA4}" dt="2019-08-22T01:08:36.414" v="202" actId="478"/>
          <ac:spMkLst>
            <pc:docMk/>
            <pc:sldMk cId="1895881425" sldId="956"/>
            <ac:spMk id="5" creationId="{EDABC4E6-12A6-884A-8E42-F0173F6980C5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1895881425" sldId="956"/>
            <ac:spMk id="14" creationId="{B672F332-AF08-46C6-94F0-77684310D7B7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1895881425" sldId="956"/>
            <ac:spMk id="15" creationId="{559AE206-7EBA-4D33-8BC9-9D8158553F0E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1895881425" sldId="956"/>
            <ac:spMk id="16" creationId="{34244EF8-D73A-40E1-BE73-D46E6B4B04ED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1895881425" sldId="956"/>
            <ac:spMk id="17" creationId="{6437D937-A7F1-4011-92B4-328E5BE1B166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1895881425" sldId="956"/>
            <ac:spMk id="18" creationId="{AB84D7E8-4ECB-42D7-ADBF-01689B0F24AE}"/>
          </ac:spMkLst>
        </pc:spChg>
        <pc:cxnChg chg="del">
          <ac:chgData name="Dubey, Abhishek" userId="fcebbf37-2e6b-4aaa-bd32-5ba1b6c49bdb" providerId="ADAL" clId="{F8AB7A86-EE21-1C41-BDE0-91B045280AA4}" dt="2019-08-22T01:08:09.120" v="180"/>
          <ac:cxnSpMkLst>
            <pc:docMk/>
            <pc:sldMk cId="1895881425" sldId="956"/>
            <ac:cxnSpMk id="20" creationId="{9E8E38ED-369A-44C2-B635-0BED0E48A6E8}"/>
          </ac:cxnSpMkLst>
        </pc:cxnChg>
      </pc:sldChg>
      <pc:sldChg chg="del">
        <pc:chgData name="Dubey, Abhishek" userId="fcebbf37-2e6b-4aaa-bd32-5ba1b6c49bdb" providerId="ADAL" clId="{F8AB7A86-EE21-1C41-BDE0-91B045280AA4}" dt="2019-08-22T00:53:58.727" v="51" actId="2696"/>
        <pc:sldMkLst>
          <pc:docMk/>
          <pc:sldMk cId="3173835626" sldId="956"/>
        </pc:sldMkLst>
      </pc:sldChg>
      <pc:sldChg chg="add del">
        <pc:chgData name="Dubey, Abhishek" userId="fcebbf37-2e6b-4aaa-bd32-5ba1b6c49bdb" providerId="ADAL" clId="{F8AB7A86-EE21-1C41-BDE0-91B045280AA4}" dt="2019-08-22T01:06:07.211" v="167" actId="2696"/>
        <pc:sldMkLst>
          <pc:docMk/>
          <pc:sldMk cId="3216465294" sldId="956"/>
        </pc:sldMkLst>
      </pc:sldChg>
      <pc:sldChg chg="del">
        <pc:chgData name="Dubey, Abhishek" userId="fcebbf37-2e6b-4aaa-bd32-5ba1b6c49bdb" providerId="ADAL" clId="{F8AB7A86-EE21-1C41-BDE0-91B045280AA4}" dt="2019-08-22T00:53:58.750" v="54" actId="2696"/>
        <pc:sldMkLst>
          <pc:docMk/>
          <pc:sldMk cId="30637322" sldId="958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64216061" sldId="958"/>
        </pc:sldMkLst>
      </pc:sldChg>
      <pc:sldChg chg="delSp add del setBg delDesignElem">
        <pc:chgData name="Dubey, Abhishek" userId="fcebbf37-2e6b-4aaa-bd32-5ba1b6c49bdb" providerId="ADAL" clId="{F8AB7A86-EE21-1C41-BDE0-91B045280AA4}" dt="2019-08-22T01:09:14.452" v="206" actId="2696"/>
        <pc:sldMkLst>
          <pc:docMk/>
          <pc:sldMk cId="2972572055" sldId="966"/>
        </pc:sldMkLst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2972572055" sldId="966"/>
            <ac:spMk id="14" creationId="{B672F332-AF08-46C6-94F0-77684310D7B7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2972572055" sldId="966"/>
            <ac:spMk id="15" creationId="{559AE206-7EBA-4D33-8BC9-9D8158553F0E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2972572055" sldId="966"/>
            <ac:spMk id="16" creationId="{34244EF8-D73A-40E1-BE73-D46E6B4B04ED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2972572055" sldId="966"/>
            <ac:spMk id="17" creationId="{6437D937-A7F1-4011-92B4-328E5BE1B166}"/>
          </ac:spMkLst>
        </pc:spChg>
        <pc:spChg chg="del">
          <ac:chgData name="Dubey, Abhishek" userId="fcebbf37-2e6b-4aaa-bd32-5ba1b6c49bdb" providerId="ADAL" clId="{F8AB7A86-EE21-1C41-BDE0-91B045280AA4}" dt="2019-08-22T01:08:09.120" v="180"/>
          <ac:spMkLst>
            <pc:docMk/>
            <pc:sldMk cId="2972572055" sldId="966"/>
            <ac:spMk id="18" creationId="{AB84D7E8-4ECB-42D7-ADBF-01689B0F24AE}"/>
          </ac:spMkLst>
        </pc:spChg>
        <pc:cxnChg chg="del">
          <ac:chgData name="Dubey, Abhishek" userId="fcebbf37-2e6b-4aaa-bd32-5ba1b6c49bdb" providerId="ADAL" clId="{F8AB7A86-EE21-1C41-BDE0-91B045280AA4}" dt="2019-08-22T01:08:09.120" v="180"/>
          <ac:cxnSpMkLst>
            <pc:docMk/>
            <pc:sldMk cId="2972572055" sldId="966"/>
            <ac:cxnSpMk id="20" creationId="{9E8E38ED-369A-44C2-B635-0BED0E48A6E8}"/>
          </ac:cxnSpMkLst>
        </pc:cxnChg>
      </pc:sldChg>
      <pc:sldChg chg="del">
        <pc:chgData name="Dubey, Abhishek" userId="fcebbf37-2e6b-4aaa-bd32-5ba1b6c49bdb" providerId="ADAL" clId="{F8AB7A86-EE21-1C41-BDE0-91B045280AA4}" dt="2019-08-22T00:53:58.837" v="63" actId="2696"/>
        <pc:sldMkLst>
          <pc:docMk/>
          <pc:sldMk cId="4223228595" sldId="966"/>
        </pc:sldMkLst>
      </pc:sldChg>
      <pc:sldChg chg="del">
        <pc:chgData name="Dubey, Abhishek" userId="fcebbf37-2e6b-4aaa-bd32-5ba1b6c49bdb" providerId="ADAL" clId="{F8AB7A86-EE21-1C41-BDE0-91B045280AA4}" dt="2019-08-22T00:53:58.916" v="69" actId="2696"/>
        <pc:sldMkLst>
          <pc:docMk/>
          <pc:sldMk cId="621154703" sldId="968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3329269717" sldId="968"/>
        </pc:sldMkLst>
      </pc:sldChg>
      <pc:sldChg chg="del">
        <pc:chgData name="Dubey, Abhishek" userId="fcebbf37-2e6b-4aaa-bd32-5ba1b6c49bdb" providerId="ADAL" clId="{F8AB7A86-EE21-1C41-BDE0-91B045280AA4}" dt="2019-08-22T00:53:58.930" v="70" actId="2696"/>
        <pc:sldMkLst>
          <pc:docMk/>
          <pc:sldMk cId="3177565525" sldId="969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4089063820" sldId="969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231524472" sldId="970"/>
        </pc:sldMkLst>
      </pc:sldChg>
      <pc:sldChg chg="add del">
        <pc:chgData name="Dubey, Abhishek" userId="fcebbf37-2e6b-4aaa-bd32-5ba1b6c49bdb" providerId="ADAL" clId="{F8AB7A86-EE21-1C41-BDE0-91B045280AA4}" dt="2019-08-22T01:06:07.222" v="169" actId="2696"/>
        <pc:sldMkLst>
          <pc:docMk/>
          <pc:sldMk cId="1743758664" sldId="970"/>
        </pc:sldMkLst>
      </pc:sldChg>
      <pc:sldChg chg="del">
        <pc:chgData name="Dubey, Abhishek" userId="fcebbf37-2e6b-4aaa-bd32-5ba1b6c49bdb" providerId="ADAL" clId="{F8AB7A86-EE21-1C41-BDE0-91B045280AA4}" dt="2019-08-22T00:53:58.952" v="71" actId="2696"/>
        <pc:sldMkLst>
          <pc:docMk/>
          <pc:sldMk cId="3577448695" sldId="970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1653237282" sldId="971"/>
        </pc:sldMkLst>
      </pc:sldChg>
      <pc:sldChg chg="del">
        <pc:chgData name="Dubey, Abhishek" userId="fcebbf37-2e6b-4aaa-bd32-5ba1b6c49bdb" providerId="ADAL" clId="{F8AB7A86-EE21-1C41-BDE0-91B045280AA4}" dt="2019-08-22T00:53:58.968" v="72" actId="2696"/>
        <pc:sldMkLst>
          <pc:docMk/>
          <pc:sldMk cId="3554998584" sldId="971"/>
        </pc:sldMkLst>
      </pc:sldChg>
      <pc:sldChg chg="del">
        <pc:chgData name="Dubey, Abhishek" userId="fcebbf37-2e6b-4aaa-bd32-5ba1b6c49bdb" providerId="ADAL" clId="{F8AB7A86-EE21-1C41-BDE0-91B045280AA4}" dt="2019-08-22T00:53:58.978" v="73" actId="2696"/>
        <pc:sldMkLst>
          <pc:docMk/>
          <pc:sldMk cId="1850746434" sldId="972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892097845" sldId="972"/>
        </pc:sldMkLst>
      </pc:sldChg>
      <pc:sldChg chg="add del">
        <pc:chgData name="Dubey, Abhishek" userId="fcebbf37-2e6b-4aaa-bd32-5ba1b6c49bdb" providerId="ADAL" clId="{F8AB7A86-EE21-1C41-BDE0-91B045280AA4}" dt="2019-08-22T01:06:07.227" v="170" actId="2696"/>
        <pc:sldMkLst>
          <pc:docMk/>
          <pc:sldMk cId="3163021881" sldId="972"/>
        </pc:sldMkLst>
      </pc:sldChg>
      <pc:sldChg chg="del">
        <pc:chgData name="Dubey, Abhishek" userId="fcebbf37-2e6b-4aaa-bd32-5ba1b6c49bdb" providerId="ADAL" clId="{F8AB7A86-EE21-1C41-BDE0-91B045280AA4}" dt="2019-08-22T00:53:58.994" v="74" actId="2696"/>
        <pc:sldMkLst>
          <pc:docMk/>
          <pc:sldMk cId="771485058" sldId="973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375593517" sldId="973"/>
        </pc:sldMkLst>
      </pc:sldChg>
      <pc:sldChg chg="add del">
        <pc:chgData name="Dubey, Abhishek" userId="fcebbf37-2e6b-4aaa-bd32-5ba1b6c49bdb" providerId="ADAL" clId="{F8AB7A86-EE21-1C41-BDE0-91B045280AA4}" dt="2019-08-22T01:06:07.167" v="165" actId="2696"/>
        <pc:sldMkLst>
          <pc:docMk/>
          <pc:sldMk cId="308797281" sldId="976"/>
        </pc:sldMkLst>
      </pc:sldChg>
      <pc:sldChg chg="add del">
        <pc:chgData name="Dubey, Abhishek" userId="fcebbf37-2e6b-4aaa-bd32-5ba1b6c49bdb" providerId="ADAL" clId="{F8AB7A86-EE21-1C41-BDE0-91B045280AA4}" dt="2019-08-22T01:06:07.111" v="160" actId="2696"/>
        <pc:sldMkLst>
          <pc:docMk/>
          <pc:sldMk cId="710195799" sldId="977"/>
        </pc:sldMkLst>
      </pc:sldChg>
      <pc:sldChg chg="add del">
        <pc:chgData name="Dubey, Abhishek" userId="fcebbf37-2e6b-4aaa-bd32-5ba1b6c49bdb" providerId="ADAL" clId="{F8AB7A86-EE21-1C41-BDE0-91B045280AA4}" dt="2019-08-22T01:06:07.120" v="161" actId="2696"/>
        <pc:sldMkLst>
          <pc:docMk/>
          <pc:sldMk cId="108609802" sldId="978"/>
        </pc:sldMkLst>
      </pc:sldChg>
      <pc:sldChg chg="del">
        <pc:chgData name="Dubey, Abhishek" userId="fcebbf37-2e6b-4aaa-bd32-5ba1b6c49bdb" providerId="ADAL" clId="{F8AB7A86-EE21-1C41-BDE0-91B045280AA4}" dt="2019-08-22T00:53:58.777" v="59" actId="2696"/>
        <pc:sldMkLst>
          <pc:docMk/>
          <pc:sldMk cId="1246838651" sldId="987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488291940" sldId="987"/>
        </pc:sldMkLst>
      </pc:sldChg>
      <pc:sldChg chg="add del">
        <pc:chgData name="Dubey, Abhishek" userId="fcebbf37-2e6b-4aaa-bd32-5ba1b6c49bdb" providerId="ADAL" clId="{F8AB7A86-EE21-1C41-BDE0-91B045280AA4}" dt="2019-08-22T01:06:07.130" v="162" actId="2696"/>
        <pc:sldMkLst>
          <pc:docMk/>
          <pc:sldMk cId="1676120938" sldId="988"/>
        </pc:sldMkLst>
      </pc:sldChg>
      <pc:sldChg chg="del">
        <pc:chgData name="Dubey, Abhishek" userId="fcebbf37-2e6b-4aaa-bd32-5ba1b6c49bdb" providerId="ADAL" clId="{F8AB7A86-EE21-1C41-BDE0-91B045280AA4}" dt="2019-08-22T00:53:58.808" v="60" actId="2696"/>
        <pc:sldMkLst>
          <pc:docMk/>
          <pc:sldMk cId="3022965318" sldId="988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3755959475" sldId="988"/>
        </pc:sldMkLst>
      </pc:sldChg>
      <pc:sldChg chg="del">
        <pc:chgData name="Dubey, Abhishek" userId="fcebbf37-2e6b-4aaa-bd32-5ba1b6c49bdb" providerId="ADAL" clId="{F8AB7A86-EE21-1C41-BDE0-91B045280AA4}" dt="2019-08-22T00:53:58.820" v="61" actId="2696"/>
        <pc:sldMkLst>
          <pc:docMk/>
          <pc:sldMk cId="2584898080" sldId="989"/>
        </pc:sldMkLst>
      </pc:sldChg>
      <pc:sldChg chg="add del">
        <pc:chgData name="Dubey, Abhishek" userId="fcebbf37-2e6b-4aaa-bd32-5ba1b6c49bdb" providerId="ADAL" clId="{F8AB7A86-EE21-1C41-BDE0-91B045280AA4}" dt="2019-08-22T01:06:07.140" v="163" actId="2696"/>
        <pc:sldMkLst>
          <pc:docMk/>
          <pc:sldMk cId="2856097671" sldId="989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3063502273" sldId="989"/>
        </pc:sldMkLst>
      </pc:sldChg>
      <pc:sldChg chg="add del">
        <pc:chgData name="Dubey, Abhishek" userId="fcebbf37-2e6b-4aaa-bd32-5ba1b6c49bdb" providerId="ADAL" clId="{F8AB7A86-EE21-1C41-BDE0-91B045280AA4}" dt="2019-08-22T01:06:07.146" v="164" actId="2696"/>
        <pc:sldMkLst>
          <pc:docMk/>
          <pc:sldMk cId="187460849" sldId="990"/>
        </pc:sldMkLst>
      </pc:sldChg>
      <pc:sldChg chg="add">
        <pc:chgData name="Dubey, Abhishek" userId="fcebbf37-2e6b-4aaa-bd32-5ba1b6c49bdb" providerId="ADAL" clId="{F8AB7A86-EE21-1C41-BDE0-91B045280AA4}" dt="2019-08-22T01:08:09.120" v="180"/>
        <pc:sldMkLst>
          <pc:docMk/>
          <pc:sldMk cId="2798160073" sldId="996"/>
        </pc:sldMkLst>
      </pc:sldChg>
      <pc:sldChg chg="del">
        <pc:chgData name="Dubey, Abhishek" userId="fcebbf37-2e6b-4aaa-bd32-5ba1b6c49bdb" providerId="ADAL" clId="{F8AB7A86-EE21-1C41-BDE0-91B045280AA4}" dt="2019-08-22T00:53:58.738" v="52" actId="2696"/>
        <pc:sldMkLst>
          <pc:docMk/>
          <pc:sldMk cId="3741170135" sldId="996"/>
        </pc:sldMkLst>
      </pc:sldChg>
      <pc:sldChg chg="add del">
        <pc:chgData name="Dubey, Abhishek" userId="fcebbf37-2e6b-4aaa-bd32-5ba1b6c49bdb" providerId="ADAL" clId="{F8AB7A86-EE21-1C41-BDE0-91B045280AA4}" dt="2019-08-22T01:06:06.819" v="142" actId="2696"/>
        <pc:sldMkLst>
          <pc:docMk/>
          <pc:sldMk cId="3710945767" sldId="997"/>
        </pc:sldMkLst>
      </pc:sldChg>
      <pc:sldChg chg="add del">
        <pc:chgData name="Dubey, Abhishek" userId="fcebbf37-2e6b-4aaa-bd32-5ba1b6c49bdb" providerId="ADAL" clId="{F8AB7A86-EE21-1C41-BDE0-91B045280AA4}" dt="2019-08-22T01:06:06.936" v="154" actId="2696"/>
        <pc:sldMkLst>
          <pc:docMk/>
          <pc:sldMk cId="2015097622" sldId="998"/>
        </pc:sldMkLst>
      </pc:sldChg>
      <pc:sldChg chg="del">
        <pc:chgData name="Dubey, Abhishek" userId="fcebbf37-2e6b-4aaa-bd32-5ba1b6c49bdb" providerId="ADAL" clId="{F8AB7A86-EE21-1C41-BDE0-91B045280AA4}" dt="2019-08-22T00:53:51.739" v="46" actId="2696"/>
        <pc:sldMkLst>
          <pc:docMk/>
          <pc:sldMk cId="0" sldId="999"/>
        </pc:sldMkLst>
      </pc:sldChg>
      <pc:sldChg chg="add del">
        <pc:chgData name="Dubey, Abhishek" userId="fcebbf37-2e6b-4aaa-bd32-5ba1b6c49bdb" providerId="ADAL" clId="{F8AB7A86-EE21-1C41-BDE0-91B045280AA4}" dt="2019-08-22T01:06:07.232" v="171" actId="2696"/>
        <pc:sldMkLst>
          <pc:docMk/>
          <pc:sldMk cId="2213811584" sldId="999"/>
        </pc:sldMkLst>
      </pc:sldChg>
      <pc:sldChg chg="add del">
        <pc:chgData name="Dubey, Abhishek" userId="fcebbf37-2e6b-4aaa-bd32-5ba1b6c49bdb" providerId="ADAL" clId="{F8AB7A86-EE21-1C41-BDE0-91B045280AA4}" dt="2019-08-22T01:06:07.237" v="172" actId="2696"/>
        <pc:sldMkLst>
          <pc:docMk/>
          <pc:sldMk cId="2511579034" sldId="1000"/>
        </pc:sldMkLst>
      </pc:sldChg>
      <pc:sldChg chg="modSp add">
        <pc:chgData name="Dubey, Abhishek" userId="fcebbf37-2e6b-4aaa-bd32-5ba1b6c49bdb" providerId="ADAL" clId="{F8AB7A86-EE21-1C41-BDE0-91B045280AA4}" dt="2019-08-22T01:09:05.851" v="205" actId="1076"/>
        <pc:sldMkLst>
          <pc:docMk/>
          <pc:sldMk cId="2984202904" sldId="1000"/>
        </pc:sldMkLst>
        <pc:picChg chg="mod">
          <ac:chgData name="Dubey, Abhishek" userId="fcebbf37-2e6b-4aaa-bd32-5ba1b6c49bdb" providerId="ADAL" clId="{F8AB7A86-EE21-1C41-BDE0-91B045280AA4}" dt="2019-08-22T01:09:05.851" v="205" actId="1076"/>
          <ac:picMkLst>
            <pc:docMk/>
            <pc:sldMk cId="2984202904" sldId="1000"/>
            <ac:picMk id="4" creationId="{E46EB2E7-95BC-4403-AD8C-243883C34387}"/>
          </ac:picMkLst>
        </pc:picChg>
      </pc:sldChg>
      <pc:sldChg chg="del">
        <pc:chgData name="Dubey, Abhishek" userId="fcebbf37-2e6b-4aaa-bd32-5ba1b6c49bdb" providerId="ADAL" clId="{F8AB7A86-EE21-1C41-BDE0-91B045280AA4}" dt="2019-08-22T00:53:58.826" v="62" actId="2696"/>
        <pc:sldMkLst>
          <pc:docMk/>
          <pc:sldMk cId="4027444154" sldId="1000"/>
        </pc:sldMkLst>
      </pc:sldChg>
      <pc:sldChg chg="del">
        <pc:chgData name="Dubey, Abhishek" userId="fcebbf37-2e6b-4aaa-bd32-5ba1b6c49bdb" providerId="ADAL" clId="{F8AB7A86-EE21-1C41-BDE0-91B045280AA4}" dt="2019-08-22T00:53:45.505" v="45" actId="2696"/>
        <pc:sldMkLst>
          <pc:docMk/>
          <pc:sldMk cId="0" sldId="1001"/>
        </pc:sldMkLst>
      </pc:sldChg>
      <pc:sldChg chg="add del">
        <pc:chgData name="Dubey, Abhishek" userId="fcebbf37-2e6b-4aaa-bd32-5ba1b6c49bdb" providerId="ADAL" clId="{F8AB7A86-EE21-1C41-BDE0-91B045280AA4}" dt="2019-08-22T00:54:41.916" v="78" actId="2696"/>
        <pc:sldMkLst>
          <pc:docMk/>
          <pc:sldMk cId="3308575762" sldId="1001"/>
        </pc:sldMkLst>
      </pc:sldChg>
      <pc:sldChg chg="addSp delSp modSp add mod setBg">
        <pc:chgData name="Dubey, Abhishek" userId="fcebbf37-2e6b-4aaa-bd32-5ba1b6c49bdb" providerId="ADAL" clId="{F8AB7A86-EE21-1C41-BDE0-91B045280AA4}" dt="2019-08-22T01:06:44.402" v="177" actId="1076"/>
        <pc:sldMkLst>
          <pc:docMk/>
          <pc:sldMk cId="400331188" sldId="1002"/>
        </pc:sldMkLst>
        <pc:spChg chg="add mod">
          <ac:chgData name="Dubey, Abhishek" userId="fcebbf37-2e6b-4aaa-bd32-5ba1b6c49bdb" providerId="ADAL" clId="{F8AB7A86-EE21-1C41-BDE0-91B045280AA4}" dt="2019-08-22T01:06:44.402" v="177" actId="1076"/>
          <ac:spMkLst>
            <pc:docMk/>
            <pc:sldMk cId="400331188" sldId="1002"/>
            <ac:spMk id="2" creationId="{2E59EBC2-D9C3-8947-BDFF-AE1C9C33F2E2}"/>
          </ac:spMkLst>
        </pc:spChg>
        <pc:spChg chg="mod">
          <ac:chgData name="Dubey, Abhishek" userId="fcebbf37-2e6b-4aaa-bd32-5ba1b6c49bdb" providerId="ADAL" clId="{F8AB7A86-EE21-1C41-BDE0-91B045280AA4}" dt="2019-08-22T00:55:27.408" v="81" actId="26606"/>
          <ac:spMkLst>
            <pc:docMk/>
            <pc:sldMk cId="400331188" sldId="1002"/>
            <ac:spMk id="5" creationId="{00000000-0000-0000-0000-000000000000}"/>
          </ac:spMkLst>
        </pc:spChg>
        <pc:spChg chg="del">
          <ac:chgData name="Dubey, Abhishek" userId="fcebbf37-2e6b-4aaa-bd32-5ba1b6c49bdb" providerId="ADAL" clId="{F8AB7A86-EE21-1C41-BDE0-91B045280AA4}" dt="2019-08-22T00:55:27.408" v="81" actId="26606"/>
          <ac:spMkLst>
            <pc:docMk/>
            <pc:sldMk cId="400331188" sldId="1002"/>
            <ac:spMk id="7" creationId="{00000000-0000-0000-0000-000000000000}"/>
          </ac:spMkLst>
        </pc:spChg>
        <pc:spChg chg="add">
          <ac:chgData name="Dubey, Abhishek" userId="fcebbf37-2e6b-4aaa-bd32-5ba1b6c49bdb" providerId="ADAL" clId="{F8AB7A86-EE21-1C41-BDE0-91B045280AA4}" dt="2019-08-22T00:55:27.408" v="81" actId="26606"/>
          <ac:spMkLst>
            <pc:docMk/>
            <pc:sldMk cId="400331188" sldId="1002"/>
            <ac:spMk id="14" creationId="{46C2E80F-49A6-4372-B103-219D417A55ED}"/>
          </ac:spMkLst>
        </pc:spChg>
        <pc:graphicFrameChg chg="add">
          <ac:chgData name="Dubey, Abhishek" userId="fcebbf37-2e6b-4aaa-bd32-5ba1b6c49bdb" providerId="ADAL" clId="{F8AB7A86-EE21-1C41-BDE0-91B045280AA4}" dt="2019-08-22T00:55:27.408" v="81" actId="26606"/>
          <ac:graphicFrameMkLst>
            <pc:docMk/>
            <pc:sldMk cId="400331188" sldId="1002"/>
            <ac:graphicFrameMk id="9" creationId="{F0AFADC6-48CB-4FC8-86FB-68C222DD2D52}"/>
          </ac:graphicFrameMkLst>
        </pc:graphicFrameChg>
        <pc:picChg chg="del">
          <ac:chgData name="Dubey, Abhishek" userId="fcebbf37-2e6b-4aaa-bd32-5ba1b6c49bdb" providerId="ADAL" clId="{F8AB7A86-EE21-1C41-BDE0-91B045280AA4}" dt="2019-08-22T00:54:53.252" v="80" actId="478"/>
          <ac:picMkLst>
            <pc:docMk/>
            <pc:sldMk cId="400331188" sldId="1002"/>
            <ac:picMk id="6" creationId="{00000000-0000-0000-0000-000000000000}"/>
          </ac:picMkLst>
        </pc:picChg>
      </pc:sldChg>
      <pc:sldChg chg="add del">
        <pc:chgData name="Dubey, Abhishek" userId="fcebbf37-2e6b-4aaa-bd32-5ba1b6c49bdb" providerId="ADAL" clId="{F8AB7A86-EE21-1C41-BDE0-91B045280AA4}" dt="2019-08-22T00:55:49.012" v="82" actId="2696"/>
        <pc:sldMkLst>
          <pc:docMk/>
          <pc:sldMk cId="341038382" sldId="1003"/>
        </pc:sldMkLst>
      </pc:sldChg>
      <pc:sldChg chg="add del">
        <pc:chgData name="Dubey, Abhishek" userId="fcebbf37-2e6b-4aaa-bd32-5ba1b6c49bdb" providerId="ADAL" clId="{F8AB7A86-EE21-1C41-BDE0-91B045280AA4}" dt="2019-08-22T00:55:51.372" v="83" actId="2696"/>
        <pc:sldMkLst>
          <pc:docMk/>
          <pc:sldMk cId="101949110" sldId="1004"/>
        </pc:sldMkLst>
      </pc:sldChg>
      <pc:sldChg chg="add del">
        <pc:chgData name="Dubey, Abhishek" userId="fcebbf37-2e6b-4aaa-bd32-5ba1b6c49bdb" providerId="ADAL" clId="{F8AB7A86-EE21-1C41-BDE0-91B045280AA4}" dt="2019-08-22T00:56:02.571" v="84" actId="2696"/>
        <pc:sldMkLst>
          <pc:docMk/>
          <pc:sldMk cId="1677609082" sldId="1005"/>
        </pc:sldMkLst>
      </pc:sldChg>
      <pc:sldChg chg="addSp delSp modSp add del">
        <pc:chgData name="Dubey, Abhishek" userId="fcebbf37-2e6b-4aaa-bd32-5ba1b6c49bdb" providerId="ADAL" clId="{F8AB7A86-EE21-1C41-BDE0-91B045280AA4}" dt="2019-08-22T01:05:33.230" v="140" actId="2696"/>
        <pc:sldMkLst>
          <pc:docMk/>
          <pc:sldMk cId="259995104" sldId="1006"/>
        </pc:sldMkLst>
        <pc:spChg chg="del">
          <ac:chgData name="Dubey, Abhishek" userId="fcebbf37-2e6b-4aaa-bd32-5ba1b6c49bdb" providerId="ADAL" clId="{F8AB7A86-EE21-1C41-BDE0-91B045280AA4}" dt="2019-08-22T01:05:24.786" v="139"/>
          <ac:spMkLst>
            <pc:docMk/>
            <pc:sldMk cId="259995104" sldId="1006"/>
            <ac:spMk id="2" creationId="{00000000-0000-0000-0000-000000000000}"/>
          </ac:spMkLst>
        </pc:spChg>
        <pc:spChg chg="del">
          <ac:chgData name="Dubey, Abhishek" userId="fcebbf37-2e6b-4aaa-bd32-5ba1b6c49bdb" providerId="ADAL" clId="{F8AB7A86-EE21-1C41-BDE0-91B045280AA4}" dt="2019-08-22T01:05:24.786" v="139"/>
          <ac:spMkLst>
            <pc:docMk/>
            <pc:sldMk cId="259995104" sldId="1006"/>
            <ac:spMk id="3" creationId="{00000000-0000-0000-0000-000000000000}"/>
          </ac:spMkLst>
        </pc:spChg>
        <pc:spChg chg="add mod">
          <ac:chgData name="Dubey, Abhishek" userId="fcebbf37-2e6b-4aaa-bd32-5ba1b6c49bdb" providerId="ADAL" clId="{F8AB7A86-EE21-1C41-BDE0-91B045280AA4}" dt="2019-08-22T01:05:24.786" v="139"/>
          <ac:spMkLst>
            <pc:docMk/>
            <pc:sldMk cId="259995104" sldId="1006"/>
            <ac:spMk id="5" creationId="{56118A0C-7019-164D-B2C5-16E7C84C542A}"/>
          </ac:spMkLst>
        </pc:spChg>
      </pc:sldChg>
      <pc:sldChg chg="add del">
        <pc:chgData name="Dubey, Abhishek" userId="fcebbf37-2e6b-4aaa-bd32-5ba1b6c49bdb" providerId="ADAL" clId="{F8AB7A86-EE21-1C41-BDE0-91B045280AA4}" dt="2019-08-22T00:56:20.730" v="86" actId="2696"/>
        <pc:sldMkLst>
          <pc:docMk/>
          <pc:sldMk cId="1310203779" sldId="1008"/>
        </pc:sldMkLst>
      </pc:sldChg>
      <pc:sldChg chg="modSp add">
        <pc:chgData name="Dubey, Abhishek" userId="fcebbf37-2e6b-4aaa-bd32-5ba1b6c49bdb" providerId="ADAL" clId="{F8AB7A86-EE21-1C41-BDE0-91B045280AA4}" dt="2019-08-22T01:03:33.099" v="110" actId="14100"/>
        <pc:sldMkLst>
          <pc:docMk/>
          <pc:sldMk cId="3215528168" sldId="1009"/>
        </pc:sldMkLst>
        <pc:spChg chg="mod">
          <ac:chgData name="Dubey, Abhishek" userId="fcebbf37-2e6b-4aaa-bd32-5ba1b6c49bdb" providerId="ADAL" clId="{F8AB7A86-EE21-1C41-BDE0-91B045280AA4}" dt="2019-08-22T01:03:33.099" v="110" actId="14100"/>
          <ac:spMkLst>
            <pc:docMk/>
            <pc:sldMk cId="3215528168" sldId="1009"/>
            <ac:spMk id="4" creationId="{00000000-0000-0000-0000-000000000000}"/>
          </ac:spMkLst>
        </pc:spChg>
      </pc:sldChg>
      <pc:sldChg chg="add del">
        <pc:chgData name="Dubey, Abhishek" userId="fcebbf37-2e6b-4aaa-bd32-5ba1b6c49bdb" providerId="ADAL" clId="{F8AB7A86-EE21-1C41-BDE0-91B045280AA4}" dt="2019-08-22T01:03:41.510" v="111" actId="2696"/>
        <pc:sldMkLst>
          <pc:docMk/>
          <pc:sldMk cId="1034930140" sldId="1010"/>
        </pc:sldMkLst>
      </pc:sldChg>
      <pc:sldChg chg="addSp delSp modSp add mod setBg setClrOvrMap">
        <pc:chgData name="Dubey, Abhishek" userId="fcebbf37-2e6b-4aaa-bd32-5ba1b6c49bdb" providerId="ADAL" clId="{F8AB7A86-EE21-1C41-BDE0-91B045280AA4}" dt="2019-08-22T01:04:21.040" v="128" actId="26606"/>
        <pc:sldMkLst>
          <pc:docMk/>
          <pc:sldMk cId="3552675006" sldId="1011"/>
        </pc:sldMkLst>
        <pc:spChg chg="mod">
          <ac:chgData name="Dubey, Abhishek" userId="fcebbf37-2e6b-4aaa-bd32-5ba1b6c49bdb" providerId="ADAL" clId="{F8AB7A86-EE21-1C41-BDE0-91B045280AA4}" dt="2019-08-22T01:04:21.040" v="128" actId="26606"/>
          <ac:spMkLst>
            <pc:docMk/>
            <pc:sldMk cId="3552675006" sldId="1011"/>
            <ac:spMk id="4" creationId="{15EF0788-F958-4CE6-AFAD-811A0987F785}"/>
          </ac:spMkLst>
        </pc:spChg>
        <pc:spChg chg="mod">
          <ac:chgData name="Dubey, Abhishek" userId="fcebbf37-2e6b-4aaa-bd32-5ba1b6c49bdb" providerId="ADAL" clId="{F8AB7A86-EE21-1C41-BDE0-91B045280AA4}" dt="2019-08-22T01:04:21.040" v="128" actId="26606"/>
          <ac:spMkLst>
            <pc:docMk/>
            <pc:sldMk cId="3552675006" sldId="1011"/>
            <ac:spMk id="5" creationId="{60079C4F-3761-42B0-8936-B70E379297EE}"/>
          </ac:spMkLst>
        </pc:spChg>
        <pc:spChg chg="add del">
          <ac:chgData name="Dubey, Abhishek" userId="fcebbf37-2e6b-4aaa-bd32-5ba1b6c49bdb" providerId="ADAL" clId="{F8AB7A86-EE21-1C41-BDE0-91B045280AA4}" dt="2019-08-22T01:04:02.728" v="113" actId="26606"/>
          <ac:spMkLst>
            <pc:docMk/>
            <pc:sldMk cId="3552675006" sldId="1011"/>
            <ac:spMk id="10" creationId="{4351DFE5-F63D-4BE0-BDA9-E3EB88F01AA5}"/>
          </ac:spMkLst>
        </pc:spChg>
        <pc:spChg chg="add del">
          <ac:chgData name="Dubey, Abhishek" userId="fcebbf37-2e6b-4aaa-bd32-5ba1b6c49bdb" providerId="ADAL" clId="{F8AB7A86-EE21-1C41-BDE0-91B045280AA4}" dt="2019-08-22T01:04:05.719" v="115" actId="26606"/>
          <ac:spMkLst>
            <pc:docMk/>
            <pc:sldMk cId="3552675006" sldId="1011"/>
            <ac:spMk id="14" creationId="{8D70B121-56F4-4848-B38B-182089D909FA}"/>
          </ac:spMkLst>
        </pc:spChg>
        <pc:spChg chg="add del">
          <ac:chgData name="Dubey, Abhishek" userId="fcebbf37-2e6b-4aaa-bd32-5ba1b6c49bdb" providerId="ADAL" clId="{F8AB7A86-EE21-1C41-BDE0-91B045280AA4}" dt="2019-08-22T01:04:07.102" v="117" actId="26606"/>
          <ac:spMkLst>
            <pc:docMk/>
            <pc:sldMk cId="3552675006" sldId="1011"/>
            <ac:spMk id="17" creationId="{59A309A7-1751-4ABE-A3C1-EEC40366AD89}"/>
          </ac:spMkLst>
        </pc:spChg>
        <pc:spChg chg="add del">
          <ac:chgData name="Dubey, Abhishek" userId="fcebbf37-2e6b-4aaa-bd32-5ba1b6c49bdb" providerId="ADAL" clId="{F8AB7A86-EE21-1C41-BDE0-91B045280AA4}" dt="2019-08-22T01:04:07.102" v="117" actId="26606"/>
          <ac:spMkLst>
            <pc:docMk/>
            <pc:sldMk cId="3552675006" sldId="1011"/>
            <ac:spMk id="18" creationId="{967D8EB6-EAE1-4F9C-B398-83321E287204}"/>
          </ac:spMkLst>
        </pc:spChg>
        <pc:spChg chg="add del">
          <ac:chgData name="Dubey, Abhishek" userId="fcebbf37-2e6b-4aaa-bd32-5ba1b6c49bdb" providerId="ADAL" clId="{F8AB7A86-EE21-1C41-BDE0-91B045280AA4}" dt="2019-08-22T01:04:09.678" v="119" actId="26606"/>
          <ac:spMkLst>
            <pc:docMk/>
            <pc:sldMk cId="3552675006" sldId="1011"/>
            <ac:spMk id="20" creationId="{4351DFE5-F63D-4BE0-BDA9-E3EB88F01AA5}"/>
          </ac:spMkLst>
        </pc:spChg>
        <pc:spChg chg="add del">
          <ac:chgData name="Dubey, Abhishek" userId="fcebbf37-2e6b-4aaa-bd32-5ba1b6c49bdb" providerId="ADAL" clId="{F8AB7A86-EE21-1C41-BDE0-91B045280AA4}" dt="2019-08-22T01:04:12.244" v="121" actId="26606"/>
          <ac:spMkLst>
            <pc:docMk/>
            <pc:sldMk cId="3552675006" sldId="1011"/>
            <ac:spMk id="23" creationId="{5B336162-B533-4EFE-8BB3-8EBB4A5E32F8}"/>
          </ac:spMkLst>
        </pc:spChg>
        <pc:spChg chg="add del">
          <ac:chgData name="Dubey, Abhishek" userId="fcebbf37-2e6b-4aaa-bd32-5ba1b6c49bdb" providerId="ADAL" clId="{F8AB7A86-EE21-1C41-BDE0-91B045280AA4}" dt="2019-08-22T01:04:13.830" v="123" actId="26606"/>
          <ac:spMkLst>
            <pc:docMk/>
            <pc:sldMk cId="3552675006" sldId="1011"/>
            <ac:spMk id="25" creationId="{4351DFE5-F63D-4BE0-BDA9-E3EB88F01AA5}"/>
          </ac:spMkLst>
        </pc:spChg>
        <pc:spChg chg="add del">
          <ac:chgData name="Dubey, Abhishek" userId="fcebbf37-2e6b-4aaa-bd32-5ba1b6c49bdb" providerId="ADAL" clId="{F8AB7A86-EE21-1C41-BDE0-91B045280AA4}" dt="2019-08-22T01:04:18.081" v="125" actId="26606"/>
          <ac:spMkLst>
            <pc:docMk/>
            <pc:sldMk cId="3552675006" sldId="1011"/>
            <ac:spMk id="28" creationId="{59A309A7-1751-4ABE-A3C1-EEC40366AD89}"/>
          </ac:spMkLst>
        </pc:spChg>
        <pc:spChg chg="add del">
          <ac:chgData name="Dubey, Abhishek" userId="fcebbf37-2e6b-4aaa-bd32-5ba1b6c49bdb" providerId="ADAL" clId="{F8AB7A86-EE21-1C41-BDE0-91B045280AA4}" dt="2019-08-22T01:04:18.081" v="125" actId="26606"/>
          <ac:spMkLst>
            <pc:docMk/>
            <pc:sldMk cId="3552675006" sldId="1011"/>
            <ac:spMk id="29" creationId="{967D8EB6-EAE1-4F9C-B398-83321E287204}"/>
          </ac:spMkLst>
        </pc:spChg>
        <pc:spChg chg="add del">
          <ac:chgData name="Dubey, Abhishek" userId="fcebbf37-2e6b-4aaa-bd32-5ba1b6c49bdb" providerId="ADAL" clId="{F8AB7A86-EE21-1C41-BDE0-91B045280AA4}" dt="2019-08-22T01:04:21.029" v="127" actId="26606"/>
          <ac:spMkLst>
            <pc:docMk/>
            <pc:sldMk cId="3552675006" sldId="1011"/>
            <ac:spMk id="32" creationId="{F98ED85F-DCEE-4B50-802E-71A6E3E12B04}"/>
          </ac:spMkLst>
        </pc:spChg>
        <pc:spChg chg="add">
          <ac:chgData name="Dubey, Abhishek" userId="fcebbf37-2e6b-4aaa-bd32-5ba1b6c49bdb" providerId="ADAL" clId="{F8AB7A86-EE21-1C41-BDE0-91B045280AA4}" dt="2019-08-22T01:04:21.040" v="128" actId="26606"/>
          <ac:spMkLst>
            <pc:docMk/>
            <pc:sldMk cId="3552675006" sldId="1011"/>
            <ac:spMk id="34" creationId="{3B854194-185D-494D-905C-7C7CB2E30F6E}"/>
          </ac:spMkLst>
        </pc:spChg>
        <pc:spChg chg="add">
          <ac:chgData name="Dubey, Abhishek" userId="fcebbf37-2e6b-4aaa-bd32-5ba1b6c49bdb" providerId="ADAL" clId="{F8AB7A86-EE21-1C41-BDE0-91B045280AA4}" dt="2019-08-22T01:04:21.040" v="128" actId="26606"/>
          <ac:spMkLst>
            <pc:docMk/>
            <pc:sldMk cId="3552675006" sldId="1011"/>
            <ac:spMk id="35" creationId="{B4F5FA0D-0104-4987-8241-EFF7C85B88DE}"/>
          </ac:spMkLst>
        </pc:spChg>
        <pc:picChg chg="add del">
          <ac:chgData name="Dubey, Abhishek" userId="fcebbf37-2e6b-4aaa-bd32-5ba1b6c49bdb" providerId="ADAL" clId="{F8AB7A86-EE21-1C41-BDE0-91B045280AA4}" dt="2019-08-22T01:04:07.102" v="117" actId="26606"/>
          <ac:picMkLst>
            <pc:docMk/>
            <pc:sldMk cId="3552675006" sldId="1011"/>
            <ac:picMk id="9" creationId="{E8444CE9-0833-4C54-AEA9-C9C43BCEBEDB}"/>
          </ac:picMkLst>
        </pc:picChg>
        <pc:picChg chg="add del">
          <ac:chgData name="Dubey, Abhishek" userId="fcebbf37-2e6b-4aaa-bd32-5ba1b6c49bdb" providerId="ADAL" clId="{F8AB7A86-EE21-1C41-BDE0-91B045280AA4}" dt="2019-08-22T01:04:02.728" v="113" actId="26606"/>
          <ac:picMkLst>
            <pc:docMk/>
            <pc:sldMk cId="3552675006" sldId="1011"/>
            <ac:picMk id="12" creationId="{3AA16612-ACD2-4A16-8F2B-4514FD6BF28F}"/>
          </ac:picMkLst>
        </pc:picChg>
        <pc:picChg chg="add del">
          <ac:chgData name="Dubey, Abhishek" userId="fcebbf37-2e6b-4aaa-bd32-5ba1b6c49bdb" providerId="ADAL" clId="{F8AB7A86-EE21-1C41-BDE0-91B045280AA4}" dt="2019-08-22T01:04:09.678" v="119" actId="26606"/>
          <ac:picMkLst>
            <pc:docMk/>
            <pc:sldMk cId="3552675006" sldId="1011"/>
            <ac:picMk id="21" creationId="{3AA16612-ACD2-4A16-8F2B-4514FD6BF28F}"/>
          </ac:picMkLst>
        </pc:picChg>
        <pc:picChg chg="add del">
          <ac:chgData name="Dubey, Abhishek" userId="fcebbf37-2e6b-4aaa-bd32-5ba1b6c49bdb" providerId="ADAL" clId="{F8AB7A86-EE21-1C41-BDE0-91B045280AA4}" dt="2019-08-22T01:04:13.830" v="123" actId="26606"/>
          <ac:picMkLst>
            <pc:docMk/>
            <pc:sldMk cId="3552675006" sldId="1011"/>
            <ac:picMk id="26" creationId="{3AA16612-ACD2-4A16-8F2B-4514FD6BF28F}"/>
          </ac:picMkLst>
        </pc:picChg>
        <pc:picChg chg="add del">
          <ac:chgData name="Dubey, Abhishek" userId="fcebbf37-2e6b-4aaa-bd32-5ba1b6c49bdb" providerId="ADAL" clId="{F8AB7A86-EE21-1C41-BDE0-91B045280AA4}" dt="2019-08-22T01:04:18.081" v="125" actId="26606"/>
          <ac:picMkLst>
            <pc:docMk/>
            <pc:sldMk cId="3552675006" sldId="1011"/>
            <ac:picMk id="30" creationId="{885660EF-A21A-4B27-91EA-7590CE9DF0AE}"/>
          </ac:picMkLst>
        </pc:picChg>
        <pc:picChg chg="add">
          <ac:chgData name="Dubey, Abhishek" userId="fcebbf37-2e6b-4aaa-bd32-5ba1b6c49bdb" providerId="ADAL" clId="{F8AB7A86-EE21-1C41-BDE0-91B045280AA4}" dt="2019-08-22T01:04:21.040" v="128" actId="26606"/>
          <ac:picMkLst>
            <pc:docMk/>
            <pc:sldMk cId="3552675006" sldId="1011"/>
            <ac:picMk id="36" creationId="{2897127E-6CEF-446C-BE87-93B7C46E49D1}"/>
          </ac:picMkLst>
        </pc:picChg>
        <pc:cxnChg chg="add del">
          <ac:chgData name="Dubey, Abhishek" userId="fcebbf37-2e6b-4aaa-bd32-5ba1b6c49bdb" providerId="ADAL" clId="{F8AB7A86-EE21-1C41-BDE0-91B045280AA4}" dt="2019-08-22T01:04:05.719" v="115" actId="26606"/>
          <ac:cxnSpMkLst>
            <pc:docMk/>
            <pc:sldMk cId="3552675006" sldId="1011"/>
            <ac:cxnSpMk id="15" creationId="{2D72A2C9-F3CA-4216-8BAD-FA4C970C3C4E}"/>
          </ac:cxnSpMkLst>
        </pc:cxnChg>
      </pc:sldChg>
      <pc:sldChg chg="addSp modSp add mod setBg">
        <pc:chgData name="Dubey, Abhishek" userId="fcebbf37-2e6b-4aaa-bd32-5ba1b6c49bdb" providerId="ADAL" clId="{F8AB7A86-EE21-1C41-BDE0-91B045280AA4}" dt="2019-08-22T01:04:31.139" v="129" actId="26606"/>
        <pc:sldMkLst>
          <pc:docMk/>
          <pc:sldMk cId="3046953975" sldId="1012"/>
        </pc:sldMkLst>
        <pc:spChg chg="mod">
          <ac:chgData name="Dubey, Abhishek" userId="fcebbf37-2e6b-4aaa-bd32-5ba1b6c49bdb" providerId="ADAL" clId="{F8AB7A86-EE21-1C41-BDE0-91B045280AA4}" dt="2019-08-22T01:04:31.139" v="129" actId="26606"/>
          <ac:spMkLst>
            <pc:docMk/>
            <pc:sldMk cId="3046953975" sldId="1012"/>
            <ac:spMk id="2" creationId="{A7D1C247-F3F1-4ADB-ADB3-4977918AE26E}"/>
          </ac:spMkLst>
        </pc:spChg>
        <pc:spChg chg="mod">
          <ac:chgData name="Dubey, Abhishek" userId="fcebbf37-2e6b-4aaa-bd32-5ba1b6c49bdb" providerId="ADAL" clId="{F8AB7A86-EE21-1C41-BDE0-91B045280AA4}" dt="2019-08-22T01:04:31.139" v="129" actId="26606"/>
          <ac:spMkLst>
            <pc:docMk/>
            <pc:sldMk cId="3046953975" sldId="1012"/>
            <ac:spMk id="3" creationId="{7D64E217-AFD8-469F-9B17-62F713706BF7}"/>
          </ac:spMkLst>
        </pc:spChg>
        <pc:spChg chg="add">
          <ac:chgData name="Dubey, Abhishek" userId="fcebbf37-2e6b-4aaa-bd32-5ba1b6c49bdb" providerId="ADAL" clId="{F8AB7A86-EE21-1C41-BDE0-91B045280AA4}" dt="2019-08-22T01:04:31.139" v="129" actId="26606"/>
          <ac:spMkLst>
            <pc:docMk/>
            <pc:sldMk cId="3046953975" sldId="1012"/>
            <ac:spMk id="8" creationId="{3B854194-185D-494D-905C-7C7CB2E30F6E}"/>
          </ac:spMkLst>
        </pc:spChg>
        <pc:spChg chg="add">
          <ac:chgData name="Dubey, Abhishek" userId="fcebbf37-2e6b-4aaa-bd32-5ba1b6c49bdb" providerId="ADAL" clId="{F8AB7A86-EE21-1C41-BDE0-91B045280AA4}" dt="2019-08-22T01:04:31.139" v="129" actId="26606"/>
          <ac:spMkLst>
            <pc:docMk/>
            <pc:sldMk cId="3046953975" sldId="1012"/>
            <ac:spMk id="10" creationId="{B4F5FA0D-0104-4987-8241-EFF7C85B88DE}"/>
          </ac:spMkLst>
        </pc:spChg>
        <pc:picChg chg="add">
          <ac:chgData name="Dubey, Abhishek" userId="fcebbf37-2e6b-4aaa-bd32-5ba1b6c49bdb" providerId="ADAL" clId="{F8AB7A86-EE21-1C41-BDE0-91B045280AA4}" dt="2019-08-22T01:04:31.139" v="129" actId="26606"/>
          <ac:picMkLst>
            <pc:docMk/>
            <pc:sldMk cId="3046953975" sldId="1012"/>
            <ac:picMk id="12" creationId="{2897127E-6CEF-446C-BE87-93B7C46E49D1}"/>
          </ac:picMkLst>
        </pc:picChg>
      </pc:sldChg>
      <pc:sldChg chg="add del">
        <pc:chgData name="Dubey, Abhishek" userId="fcebbf37-2e6b-4aaa-bd32-5ba1b6c49bdb" providerId="ADAL" clId="{F8AB7A86-EE21-1C41-BDE0-91B045280AA4}" dt="2019-08-22T01:04:37.908" v="130" actId="2696"/>
        <pc:sldMkLst>
          <pc:docMk/>
          <pc:sldMk cId="17843433" sldId="1013"/>
        </pc:sldMkLst>
      </pc:sldChg>
      <pc:sldChg chg="modSp add del">
        <pc:chgData name="Dubey, Abhishek" userId="fcebbf37-2e6b-4aaa-bd32-5ba1b6c49bdb" providerId="ADAL" clId="{F8AB7A86-EE21-1C41-BDE0-91B045280AA4}" dt="2019-08-22T01:05:01.342" v="131" actId="2696"/>
        <pc:sldMkLst>
          <pc:docMk/>
          <pc:sldMk cId="631828311" sldId="1014"/>
        </pc:sldMkLst>
        <pc:spChg chg="mod">
          <ac:chgData name="Dubey, Abhishek" userId="fcebbf37-2e6b-4aaa-bd32-5ba1b6c49bdb" providerId="ADAL" clId="{F8AB7A86-EE21-1C41-BDE0-91B045280AA4}" dt="2019-08-22T00:54:28.264" v="77" actId="27636"/>
          <ac:spMkLst>
            <pc:docMk/>
            <pc:sldMk cId="631828311" sldId="1014"/>
            <ac:spMk id="2" creationId="{E7DAE6D0-9871-4735-8542-8FB554F90764}"/>
          </ac:spMkLst>
        </pc:spChg>
        <pc:spChg chg="mod">
          <ac:chgData name="Dubey, Abhishek" userId="fcebbf37-2e6b-4aaa-bd32-5ba1b6c49bdb" providerId="ADAL" clId="{F8AB7A86-EE21-1C41-BDE0-91B045280AA4}" dt="2019-08-22T00:54:28.263" v="76" actId="27636"/>
          <ac:spMkLst>
            <pc:docMk/>
            <pc:sldMk cId="631828311" sldId="1014"/>
            <ac:spMk id="3" creationId="{FE2839CC-9909-48E5-8FCD-695CE8C6026C}"/>
          </ac:spMkLst>
        </pc:spChg>
      </pc:sldChg>
      <pc:sldChg chg="add del">
        <pc:chgData name="Dubey, Abhishek" userId="fcebbf37-2e6b-4aaa-bd32-5ba1b6c49bdb" providerId="ADAL" clId="{F8AB7A86-EE21-1C41-BDE0-91B045280AA4}" dt="2019-08-22T01:05:02.440" v="132" actId="2696"/>
        <pc:sldMkLst>
          <pc:docMk/>
          <pc:sldMk cId="2909471598" sldId="1015"/>
        </pc:sldMkLst>
      </pc:sldChg>
      <pc:sldChg chg="add del">
        <pc:chgData name="Dubey, Abhishek" userId="fcebbf37-2e6b-4aaa-bd32-5ba1b6c49bdb" providerId="ADAL" clId="{F8AB7A86-EE21-1C41-BDE0-91B045280AA4}" dt="2019-08-22T01:05:03.439" v="133" actId="2696"/>
        <pc:sldMkLst>
          <pc:docMk/>
          <pc:sldMk cId="1729403522" sldId="1016"/>
        </pc:sldMkLst>
      </pc:sldChg>
      <pc:sldChg chg="add del">
        <pc:chgData name="Dubey, Abhishek" userId="fcebbf37-2e6b-4aaa-bd32-5ba1b6c49bdb" providerId="ADAL" clId="{F8AB7A86-EE21-1C41-BDE0-91B045280AA4}" dt="2019-08-22T01:05:04.159" v="134" actId="2696"/>
        <pc:sldMkLst>
          <pc:docMk/>
          <pc:sldMk cId="3032364450" sldId="1017"/>
        </pc:sldMkLst>
      </pc:sldChg>
      <pc:sldChg chg="add del">
        <pc:chgData name="Dubey, Abhishek" userId="fcebbf37-2e6b-4aaa-bd32-5ba1b6c49bdb" providerId="ADAL" clId="{F8AB7A86-EE21-1C41-BDE0-91B045280AA4}" dt="2019-08-22T01:05:04.718" v="135" actId="2696"/>
        <pc:sldMkLst>
          <pc:docMk/>
          <pc:sldMk cId="2961429" sldId="1018"/>
        </pc:sldMkLst>
      </pc:sldChg>
      <pc:sldChg chg="add del">
        <pc:chgData name="Dubey, Abhishek" userId="fcebbf37-2e6b-4aaa-bd32-5ba1b6c49bdb" providerId="ADAL" clId="{F8AB7A86-EE21-1C41-BDE0-91B045280AA4}" dt="2019-08-22T01:05:05.289" v="136" actId="2696"/>
        <pc:sldMkLst>
          <pc:docMk/>
          <pc:sldMk cId="2592211292" sldId="1019"/>
        </pc:sldMkLst>
      </pc:sldChg>
      <pc:sldChg chg="add del">
        <pc:chgData name="Dubey, Abhishek" userId="fcebbf37-2e6b-4aaa-bd32-5ba1b6c49bdb" providerId="ADAL" clId="{F8AB7A86-EE21-1C41-BDE0-91B045280AA4}" dt="2019-08-22T01:05:06.066" v="137" actId="2696"/>
        <pc:sldMkLst>
          <pc:docMk/>
          <pc:sldMk cId="170198578" sldId="1020"/>
        </pc:sldMkLst>
      </pc:sldChg>
      <pc:sldChg chg="add del">
        <pc:chgData name="Dubey, Abhishek" userId="fcebbf37-2e6b-4aaa-bd32-5ba1b6c49bdb" providerId="ADAL" clId="{F8AB7A86-EE21-1C41-BDE0-91B045280AA4}" dt="2019-08-22T01:05:07.224" v="138" actId="2696"/>
        <pc:sldMkLst>
          <pc:docMk/>
          <pc:sldMk cId="3222432225" sldId="1021"/>
        </pc:sldMkLst>
      </pc:sldChg>
      <pc:sldChg chg="add del">
        <pc:chgData name="Dubey, Abhishek" userId="fcebbf37-2e6b-4aaa-bd32-5ba1b6c49bdb" providerId="ADAL" clId="{F8AB7A86-EE21-1C41-BDE0-91B045280AA4}" dt="2019-08-22T01:05:34.719" v="141" actId="2696"/>
        <pc:sldMkLst>
          <pc:docMk/>
          <pc:sldMk cId="3602374970" sldId="1022"/>
        </pc:sldMkLst>
      </pc:sldChg>
      <pc:sldChg chg="add">
        <pc:chgData name="Dubey, Abhishek" userId="fcebbf37-2e6b-4aaa-bd32-5ba1b6c49bdb" providerId="ADAL" clId="{F8AB7A86-EE21-1C41-BDE0-91B045280AA4}" dt="2019-08-22T00:54:28.118" v="75"/>
        <pc:sldMkLst>
          <pc:docMk/>
          <pc:sldMk cId="671500175" sldId="1023"/>
        </pc:sldMkLst>
      </pc:sldChg>
      <pc:sldChg chg="add del">
        <pc:chgData name="Dubey, Abhishek" userId="fcebbf37-2e6b-4aaa-bd32-5ba1b6c49bdb" providerId="ADAL" clId="{F8AB7A86-EE21-1C41-BDE0-91B045280AA4}" dt="2019-08-22T00:56:15.779" v="85" actId="2696"/>
        <pc:sldMkLst>
          <pc:docMk/>
          <pc:sldMk cId="2157365523" sldId="1024"/>
        </pc:sldMkLst>
      </pc:sldChg>
      <pc:sldChg chg="addSp delSp modSp add delAnim modAnim">
        <pc:chgData name="Dubey, Abhishek" userId="fcebbf37-2e6b-4aaa-bd32-5ba1b6c49bdb" providerId="ADAL" clId="{F8AB7A86-EE21-1C41-BDE0-91B045280AA4}" dt="2019-08-22T01:01:41.976" v="101"/>
        <pc:sldMkLst>
          <pc:docMk/>
          <pc:sldMk cId="3418916262" sldId="1024"/>
        </pc:sldMkLst>
        <pc:spChg chg="del mod">
          <ac:chgData name="Dubey, Abhishek" userId="fcebbf37-2e6b-4aaa-bd32-5ba1b6c49bdb" providerId="ADAL" clId="{F8AB7A86-EE21-1C41-BDE0-91B045280AA4}" dt="2019-08-22T00:57:57.822" v="90" actId="478"/>
          <ac:spMkLst>
            <pc:docMk/>
            <pc:sldMk cId="3418916262" sldId="1024"/>
            <ac:spMk id="2" creationId="{1B15346E-73C0-F94F-BB90-6188F1C9AA2C}"/>
          </ac:spMkLst>
        </pc:spChg>
        <pc:spChg chg="del mod">
          <ac:chgData name="Dubey, Abhishek" userId="fcebbf37-2e6b-4aaa-bd32-5ba1b6c49bdb" providerId="ADAL" clId="{F8AB7A86-EE21-1C41-BDE0-91B045280AA4}" dt="2019-08-22T00:58:00.494" v="91" actId="478"/>
          <ac:spMkLst>
            <pc:docMk/>
            <pc:sldMk cId="3418916262" sldId="1024"/>
            <ac:spMk id="3" creationId="{5AB2031C-6E48-F644-BD19-F923C1FCBC26}"/>
          </ac:spMkLst>
        </pc:spChg>
        <pc:picChg chg="add del mod">
          <ac:chgData name="Dubey, Abhishek" userId="fcebbf37-2e6b-4aaa-bd32-5ba1b6c49bdb" providerId="ADAL" clId="{F8AB7A86-EE21-1C41-BDE0-91B045280AA4}" dt="2019-08-22T01:01:10.795" v="97" actId="478"/>
          <ac:picMkLst>
            <pc:docMk/>
            <pc:sldMk cId="3418916262" sldId="1024"/>
            <ac:picMk id="4" creationId="{C1541D81-F93F-8E40-B731-64FCF526E82B}"/>
          </ac:picMkLst>
        </pc:picChg>
        <pc:picChg chg="add mod">
          <ac:chgData name="Dubey, Abhishek" userId="fcebbf37-2e6b-4aaa-bd32-5ba1b6c49bdb" providerId="ADAL" clId="{F8AB7A86-EE21-1C41-BDE0-91B045280AA4}" dt="2019-08-22T01:01:29.587" v="100" actId="14100"/>
          <ac:picMkLst>
            <pc:docMk/>
            <pc:sldMk cId="3418916262" sldId="1024"/>
            <ac:picMk id="5" creationId="{299182E5-BED1-9643-BBCC-E4C9E214862B}"/>
          </ac:picMkLst>
        </pc:picChg>
      </pc:sldChg>
      <pc:sldChg chg="addSp delSp modSp add modAnim">
        <pc:chgData name="Dubey, Abhishek" userId="fcebbf37-2e6b-4aaa-bd32-5ba1b6c49bdb" providerId="ADAL" clId="{F8AB7A86-EE21-1C41-BDE0-91B045280AA4}" dt="2019-08-22T01:03:08.386" v="108"/>
        <pc:sldMkLst>
          <pc:docMk/>
          <pc:sldMk cId="1629748751" sldId="1025"/>
        </pc:sldMkLst>
        <pc:spChg chg="del">
          <ac:chgData name="Dubey, Abhishek" userId="fcebbf37-2e6b-4aaa-bd32-5ba1b6c49bdb" providerId="ADAL" clId="{F8AB7A86-EE21-1C41-BDE0-91B045280AA4}" dt="2019-08-22T01:02:40.397" v="103" actId="478"/>
          <ac:spMkLst>
            <pc:docMk/>
            <pc:sldMk cId="1629748751" sldId="1025"/>
            <ac:spMk id="2" creationId="{B2D0DE87-87C4-C543-B0A9-3BCD96E6A317}"/>
          </ac:spMkLst>
        </pc:spChg>
        <pc:spChg chg="del">
          <ac:chgData name="Dubey, Abhishek" userId="fcebbf37-2e6b-4aaa-bd32-5ba1b6c49bdb" providerId="ADAL" clId="{F8AB7A86-EE21-1C41-BDE0-91B045280AA4}" dt="2019-08-22T01:02:42.604" v="104" actId="478"/>
          <ac:spMkLst>
            <pc:docMk/>
            <pc:sldMk cId="1629748751" sldId="1025"/>
            <ac:spMk id="3" creationId="{76B2803D-F7DD-2E49-87C2-019602A1E340}"/>
          </ac:spMkLst>
        </pc:spChg>
        <pc:picChg chg="add mod">
          <ac:chgData name="Dubey, Abhishek" userId="fcebbf37-2e6b-4aaa-bd32-5ba1b6c49bdb" providerId="ADAL" clId="{F8AB7A86-EE21-1C41-BDE0-91B045280AA4}" dt="2019-08-22T01:03:01.948" v="107" actId="14100"/>
          <ac:picMkLst>
            <pc:docMk/>
            <pc:sldMk cId="1629748751" sldId="1025"/>
            <ac:picMk id="4" creationId="{C048B99E-721D-674A-ABB9-70C7948C52B2}"/>
          </ac:picMkLst>
        </pc:picChg>
      </pc:sldChg>
      <pc:sldMasterChg chg="delSldLayout">
        <pc:chgData name="Dubey, Abhishek" userId="fcebbf37-2e6b-4aaa-bd32-5ba1b6c49bdb" providerId="ADAL" clId="{F8AB7A86-EE21-1C41-BDE0-91B045280AA4}" dt="2019-08-22T01:06:07.215" v="168" actId="2696"/>
        <pc:sldMasterMkLst>
          <pc:docMk/>
          <pc:sldMasterMk cId="3386998165" sldId="2147483648"/>
        </pc:sldMasterMkLst>
        <pc:sldLayoutChg chg="del">
          <pc:chgData name="Dubey, Abhishek" userId="fcebbf37-2e6b-4aaa-bd32-5ba1b6c49bdb" providerId="ADAL" clId="{F8AB7A86-EE21-1C41-BDE0-91B045280AA4}" dt="2019-08-22T00:54:41.921" v="79" actId="2696"/>
          <pc:sldLayoutMkLst>
            <pc:docMk/>
            <pc:sldMasterMk cId="3386998165" sldId="2147483648"/>
            <pc:sldLayoutMk cId="221344530" sldId="2147483660"/>
          </pc:sldLayoutMkLst>
        </pc:sldLayoutChg>
        <pc:sldLayoutChg chg="del">
          <pc:chgData name="Dubey, Abhishek" userId="fcebbf37-2e6b-4aaa-bd32-5ba1b6c49bdb" providerId="ADAL" clId="{F8AB7A86-EE21-1C41-BDE0-91B045280AA4}" dt="2019-08-22T00:53:58.761" v="56" actId="2696"/>
          <pc:sldLayoutMkLst>
            <pc:docMk/>
            <pc:sldMasterMk cId="3386998165" sldId="2147483648"/>
            <pc:sldLayoutMk cId="2840276207" sldId="2147483660"/>
          </pc:sldLayoutMkLst>
        </pc:sldLayoutChg>
        <pc:sldLayoutChg chg="del">
          <pc:chgData name="Dubey, Abhishek" userId="fcebbf37-2e6b-4aaa-bd32-5ba1b6c49bdb" providerId="ADAL" clId="{F8AB7A86-EE21-1C41-BDE0-91B045280AA4}" dt="2019-08-22T01:06:06.910" v="152" actId="2696"/>
          <pc:sldLayoutMkLst>
            <pc:docMk/>
            <pc:sldMasterMk cId="3386998165" sldId="2147483648"/>
            <pc:sldLayoutMk cId="2656826512" sldId="2147483661"/>
          </pc:sldLayoutMkLst>
        </pc:sldLayoutChg>
        <pc:sldLayoutChg chg="del">
          <pc:chgData name="Dubey, Abhishek" userId="fcebbf37-2e6b-4aaa-bd32-5ba1b6c49bdb" providerId="ADAL" clId="{F8AB7A86-EE21-1C41-BDE0-91B045280AA4}" dt="2019-08-22T00:53:58.767" v="58" actId="2696"/>
          <pc:sldLayoutMkLst>
            <pc:docMk/>
            <pc:sldMasterMk cId="3386998165" sldId="2147483648"/>
            <pc:sldLayoutMk cId="3921026713" sldId="2147483661"/>
          </pc:sldLayoutMkLst>
        </pc:sldLayoutChg>
        <pc:sldLayoutChg chg="del">
          <pc:chgData name="Dubey, Abhishek" userId="fcebbf37-2e6b-4aaa-bd32-5ba1b6c49bdb" providerId="ADAL" clId="{F8AB7A86-EE21-1C41-BDE0-91B045280AA4}" dt="2019-08-22T01:06:06.847" v="145" actId="2696"/>
          <pc:sldLayoutMkLst>
            <pc:docMk/>
            <pc:sldMasterMk cId="3386998165" sldId="2147483648"/>
            <pc:sldLayoutMk cId="2923417380" sldId="2147483663"/>
          </pc:sldLayoutMkLst>
        </pc:sldLayoutChg>
        <pc:sldLayoutChg chg="del">
          <pc:chgData name="Dubey, Abhishek" userId="fcebbf37-2e6b-4aaa-bd32-5ba1b6c49bdb" providerId="ADAL" clId="{F8AB7A86-EE21-1C41-BDE0-91B045280AA4}" dt="2019-08-22T01:06:06.859" v="147" actId="2696"/>
          <pc:sldLayoutMkLst>
            <pc:docMk/>
            <pc:sldMasterMk cId="3386998165" sldId="2147483648"/>
            <pc:sldLayoutMk cId="2156722835" sldId="2147483664"/>
          </pc:sldLayoutMkLst>
        </pc:sldLayoutChg>
        <pc:sldLayoutChg chg="del">
          <pc:chgData name="Dubey, Abhishek" userId="fcebbf37-2e6b-4aaa-bd32-5ba1b6c49bdb" providerId="ADAL" clId="{F8AB7A86-EE21-1C41-BDE0-91B045280AA4}" dt="2019-08-22T01:06:06.877" v="149" actId="2696"/>
          <pc:sldLayoutMkLst>
            <pc:docMk/>
            <pc:sldMasterMk cId="3386998165" sldId="2147483648"/>
            <pc:sldLayoutMk cId="3950889177" sldId="2147483665"/>
          </pc:sldLayoutMkLst>
        </pc:sldLayoutChg>
        <pc:sldLayoutChg chg="del">
          <pc:chgData name="Dubey, Abhishek" userId="fcebbf37-2e6b-4aaa-bd32-5ba1b6c49bdb" providerId="ADAL" clId="{F8AB7A86-EE21-1C41-BDE0-91B045280AA4}" dt="2019-08-22T01:06:06.985" v="156" actId="2696"/>
          <pc:sldLayoutMkLst>
            <pc:docMk/>
            <pc:sldMasterMk cId="3386998165" sldId="2147483648"/>
            <pc:sldLayoutMk cId="2046636581" sldId="2147483666"/>
          </pc:sldLayoutMkLst>
        </pc:sldLayoutChg>
        <pc:sldLayoutChg chg="del">
          <pc:chgData name="Dubey, Abhishek" userId="fcebbf37-2e6b-4aaa-bd32-5ba1b6c49bdb" providerId="ADAL" clId="{F8AB7A86-EE21-1C41-BDE0-91B045280AA4}" dt="2019-08-22T01:06:07.095" v="158" actId="2696"/>
          <pc:sldLayoutMkLst>
            <pc:docMk/>
            <pc:sldMasterMk cId="3386998165" sldId="2147483648"/>
            <pc:sldLayoutMk cId="972813836" sldId="2147483667"/>
          </pc:sldLayoutMkLst>
        </pc:sldLayoutChg>
        <pc:sldLayoutChg chg="del">
          <pc:chgData name="Dubey, Abhishek" userId="fcebbf37-2e6b-4aaa-bd32-5ba1b6c49bdb" providerId="ADAL" clId="{F8AB7A86-EE21-1C41-BDE0-91B045280AA4}" dt="2019-08-22T01:06:07.215" v="168" actId="2696"/>
          <pc:sldLayoutMkLst>
            <pc:docMk/>
            <pc:sldMasterMk cId="3386998165" sldId="2147483648"/>
            <pc:sldLayoutMk cId="3500204851" sldId="2147483668"/>
          </pc:sldLayoutMkLst>
        </pc:sldLayout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0.png"/><Relationship Id="rId4" Type="http://schemas.openxmlformats.org/officeDocument/2006/relationships/image" Target="../media/image11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0.png"/><Relationship Id="rId4" Type="http://schemas.openxmlformats.org/officeDocument/2006/relationships/image" Target="../media/image1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D185DD6-C0A9-4C05-84FE-11CB662A0993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colorful1" csCatId="colorful" phldr="1"/>
      <dgm:spPr/>
      <dgm:t>
        <a:bodyPr/>
        <a:lstStyle/>
        <a:p>
          <a:endParaRPr lang="en-US"/>
        </a:p>
      </dgm:t>
    </dgm:pt>
    <dgm:pt modelId="{0E6D81AB-7C7B-4B98-86D0-A7BDC416B8A7}">
      <dgm:prSet/>
      <dgm:spPr/>
      <dgm:t>
        <a:bodyPr/>
        <a:lstStyle/>
        <a:p>
          <a:r>
            <a:rPr lang="en-US"/>
            <a:t>Networking</a:t>
          </a:r>
        </a:p>
      </dgm:t>
    </dgm:pt>
    <dgm:pt modelId="{9FDBD51B-898E-4510-B8A9-2BC63032FF6D}" type="parTrans" cxnId="{BE0DF7A9-118D-475B-91B4-56CDE6B2AA66}">
      <dgm:prSet/>
      <dgm:spPr/>
      <dgm:t>
        <a:bodyPr/>
        <a:lstStyle/>
        <a:p>
          <a:endParaRPr lang="en-US"/>
        </a:p>
      </dgm:t>
    </dgm:pt>
    <dgm:pt modelId="{40BF681A-0310-4D23-A1F7-D061293A186D}" type="sibTrans" cxnId="{BE0DF7A9-118D-475B-91B4-56CDE6B2AA66}">
      <dgm:prSet/>
      <dgm:spPr/>
      <dgm:t>
        <a:bodyPr/>
        <a:lstStyle/>
        <a:p>
          <a:endParaRPr lang="en-US"/>
        </a:p>
      </dgm:t>
    </dgm:pt>
    <dgm:pt modelId="{9C280931-C7D5-4AC4-98F7-02A7E4D8775B}">
      <dgm:prSet/>
      <dgm:spPr/>
      <dgm:t>
        <a:bodyPr/>
        <a:lstStyle/>
        <a:p>
          <a:r>
            <a:rPr lang="en-US"/>
            <a:t>Distributed Applications</a:t>
          </a:r>
        </a:p>
      </dgm:t>
    </dgm:pt>
    <dgm:pt modelId="{1AF9E4F9-361B-4D1B-8384-5CEC52CBE489}" type="parTrans" cxnId="{94CF2245-3F9B-4F63-AAE2-8FE0B3175E0D}">
      <dgm:prSet/>
      <dgm:spPr/>
      <dgm:t>
        <a:bodyPr/>
        <a:lstStyle/>
        <a:p>
          <a:endParaRPr lang="en-US"/>
        </a:p>
      </dgm:t>
    </dgm:pt>
    <dgm:pt modelId="{329B3C3A-5F68-4960-ADFE-1C874DF2C730}" type="sibTrans" cxnId="{94CF2245-3F9B-4F63-AAE2-8FE0B3175E0D}">
      <dgm:prSet/>
      <dgm:spPr/>
      <dgm:t>
        <a:bodyPr/>
        <a:lstStyle/>
        <a:p>
          <a:endParaRPr lang="en-US"/>
        </a:p>
      </dgm:t>
    </dgm:pt>
    <dgm:pt modelId="{DB40B3B5-F035-4454-B524-B128FED364FA}">
      <dgm:prSet/>
      <dgm:spPr/>
      <dgm:t>
        <a:bodyPr/>
        <a:lstStyle/>
        <a:p>
          <a:r>
            <a:rPr lang="en-US"/>
            <a:t>Failures and Anomaly detection</a:t>
          </a:r>
        </a:p>
      </dgm:t>
    </dgm:pt>
    <dgm:pt modelId="{C2E6DCD2-0A80-4D87-A3FC-316162DEBF5E}" type="parTrans" cxnId="{C0FE0DD6-1D4A-4A0C-993A-A88E7EF34FBC}">
      <dgm:prSet/>
      <dgm:spPr/>
      <dgm:t>
        <a:bodyPr/>
        <a:lstStyle/>
        <a:p>
          <a:endParaRPr lang="en-US"/>
        </a:p>
      </dgm:t>
    </dgm:pt>
    <dgm:pt modelId="{67575990-C01F-4835-BF45-6E4E8F4CD84B}" type="sibTrans" cxnId="{C0FE0DD6-1D4A-4A0C-993A-A88E7EF34FBC}">
      <dgm:prSet/>
      <dgm:spPr/>
      <dgm:t>
        <a:bodyPr/>
        <a:lstStyle/>
        <a:p>
          <a:endParaRPr lang="en-US"/>
        </a:p>
      </dgm:t>
    </dgm:pt>
    <dgm:pt modelId="{E9463B85-5D74-4C8B-AAEE-A09AA4863F75}">
      <dgm:prSet/>
      <dgm:spPr/>
      <dgm:t>
        <a:bodyPr/>
        <a:lstStyle/>
        <a:p>
          <a:r>
            <a:rPr lang="en-US"/>
            <a:t>Site Reliability Engineering With a focus on Resilient Architectures and Fault-Tolerance</a:t>
          </a:r>
        </a:p>
      </dgm:t>
    </dgm:pt>
    <dgm:pt modelId="{3467436D-50DD-4E0E-9C92-01794BCB8420}" type="parTrans" cxnId="{10A41B3B-3B83-46E3-A307-01D2B9490BCE}">
      <dgm:prSet/>
      <dgm:spPr/>
      <dgm:t>
        <a:bodyPr/>
        <a:lstStyle/>
        <a:p>
          <a:endParaRPr lang="en-US"/>
        </a:p>
      </dgm:t>
    </dgm:pt>
    <dgm:pt modelId="{DFA40E63-F326-46F8-B8F4-251B6D160F07}" type="sibTrans" cxnId="{10A41B3B-3B83-46E3-A307-01D2B9490BCE}">
      <dgm:prSet/>
      <dgm:spPr/>
      <dgm:t>
        <a:bodyPr/>
        <a:lstStyle/>
        <a:p>
          <a:endParaRPr lang="en-US"/>
        </a:p>
      </dgm:t>
    </dgm:pt>
    <dgm:pt modelId="{C2E385A1-2CFD-43BA-B048-529C24FAFC66}" type="pres">
      <dgm:prSet presAssocID="{0D185DD6-C0A9-4C05-84FE-11CB662A0993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3BFD0C1-F5B4-45F3-BF33-5A95DD62DF55}" type="pres">
      <dgm:prSet presAssocID="{0E6D81AB-7C7B-4B98-86D0-A7BDC416B8A7}" presName="compNode" presStyleCnt="0"/>
      <dgm:spPr/>
    </dgm:pt>
    <dgm:pt modelId="{2BFBA1E3-9715-43F4-976C-42991544BC9D}" type="pres">
      <dgm:prSet presAssocID="{0E6D81AB-7C7B-4B98-86D0-A7BDC416B8A7}" presName="bgRect" presStyleLbl="bgShp" presStyleIdx="0" presStyleCnt="4"/>
      <dgm:spPr/>
    </dgm:pt>
    <dgm:pt modelId="{0F60D0EA-46E7-419D-8848-992038464212}" type="pres">
      <dgm:prSet presAssocID="{0E6D81AB-7C7B-4B98-86D0-A7BDC416B8A7}" presName="iconRect" presStyleLbl="node1" presStyleIdx="0" presStyleCnt="4"/>
      <dgm:spPr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E9A7E976-18D2-4ABD-9E51-57C68D0D2B66}" type="pres">
      <dgm:prSet presAssocID="{0E6D81AB-7C7B-4B98-86D0-A7BDC416B8A7}" presName="spaceRect" presStyleCnt="0"/>
      <dgm:spPr/>
    </dgm:pt>
    <dgm:pt modelId="{9C677FCA-40CB-4DD9-8B9C-FCE5116FB5D6}" type="pres">
      <dgm:prSet presAssocID="{0E6D81AB-7C7B-4B98-86D0-A7BDC416B8A7}" presName="parTx" presStyleLbl="revTx" presStyleIdx="0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CB9B6F46-9AD7-47E0-89A9-B8E5C4B17724}" type="pres">
      <dgm:prSet presAssocID="{40BF681A-0310-4D23-A1F7-D061293A186D}" presName="sibTrans" presStyleCnt="0"/>
      <dgm:spPr/>
    </dgm:pt>
    <dgm:pt modelId="{EBAA93AA-E811-4677-BEDD-4C1E366CCE6E}" type="pres">
      <dgm:prSet presAssocID="{9C280931-C7D5-4AC4-98F7-02A7E4D8775B}" presName="compNode" presStyleCnt="0"/>
      <dgm:spPr/>
    </dgm:pt>
    <dgm:pt modelId="{A293A6AD-1323-4800-8620-FF6F00394EBF}" type="pres">
      <dgm:prSet presAssocID="{9C280931-C7D5-4AC4-98F7-02A7E4D8775B}" presName="bgRect" presStyleLbl="bgShp" presStyleIdx="1" presStyleCnt="4"/>
      <dgm:spPr/>
    </dgm:pt>
    <dgm:pt modelId="{9C80A513-89B1-4E7A-8659-CA63F7F07E69}" type="pres">
      <dgm:prSet presAssocID="{9C280931-C7D5-4AC4-98F7-02A7E4D8775B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Network"/>
        </a:ext>
      </dgm:extLst>
    </dgm:pt>
    <dgm:pt modelId="{701AF262-AFE5-4A1C-84A4-E32A6347F678}" type="pres">
      <dgm:prSet presAssocID="{9C280931-C7D5-4AC4-98F7-02A7E4D8775B}" presName="spaceRect" presStyleCnt="0"/>
      <dgm:spPr/>
    </dgm:pt>
    <dgm:pt modelId="{194459AA-E00C-4AA3-AB6D-100D85FC763F}" type="pres">
      <dgm:prSet presAssocID="{9C280931-C7D5-4AC4-98F7-02A7E4D8775B}" presName="parTx" presStyleLbl="revTx" presStyleIdx="1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6B564CAC-4AE8-4FBE-AD8B-B17A0A9E5A9D}" type="pres">
      <dgm:prSet presAssocID="{329B3C3A-5F68-4960-ADFE-1C874DF2C730}" presName="sibTrans" presStyleCnt="0"/>
      <dgm:spPr/>
    </dgm:pt>
    <dgm:pt modelId="{EF448EEF-9E99-4208-B9AD-BA2B1C2DD5D8}" type="pres">
      <dgm:prSet presAssocID="{DB40B3B5-F035-4454-B524-B128FED364FA}" presName="compNode" presStyleCnt="0"/>
      <dgm:spPr/>
    </dgm:pt>
    <dgm:pt modelId="{B93E9CE1-1096-4604-9B29-8560257F76C2}" type="pres">
      <dgm:prSet presAssocID="{DB40B3B5-F035-4454-B524-B128FED364FA}" presName="bgRect" presStyleLbl="bgShp" presStyleIdx="2" presStyleCnt="4"/>
      <dgm:spPr/>
    </dgm:pt>
    <dgm:pt modelId="{653A61AE-A62C-4023-AE92-9725D4B82D00}" type="pres">
      <dgm:prSet presAssocID="{DB40B3B5-F035-4454-B524-B128FED364FA}" presName="iconRect" presStyleLbl="node1" presStyleIdx="2" presStyleCnt="4"/>
      <dgm:spPr>
        <a:blipFill>
          <a:blip xmlns:r="http://schemas.openxmlformats.org/officeDocument/2006/relationships"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Downward trend"/>
        </a:ext>
      </dgm:extLst>
    </dgm:pt>
    <dgm:pt modelId="{6FCD7C8A-BCE3-4328-B18E-19172EEFFEBD}" type="pres">
      <dgm:prSet presAssocID="{DB40B3B5-F035-4454-B524-B128FED364FA}" presName="spaceRect" presStyleCnt="0"/>
      <dgm:spPr/>
    </dgm:pt>
    <dgm:pt modelId="{2BC36942-A84C-4F35-82DA-1EC5790F87A6}" type="pres">
      <dgm:prSet presAssocID="{DB40B3B5-F035-4454-B524-B128FED364FA}" presName="parTx" presStyleLbl="revTx" presStyleIdx="2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31C380C1-69A6-458A-ADB0-6A4AFBEFFB11}" type="pres">
      <dgm:prSet presAssocID="{67575990-C01F-4835-BF45-6E4E8F4CD84B}" presName="sibTrans" presStyleCnt="0"/>
      <dgm:spPr/>
    </dgm:pt>
    <dgm:pt modelId="{3D1731AC-00B9-406A-B139-A5DC36639A37}" type="pres">
      <dgm:prSet presAssocID="{E9463B85-5D74-4C8B-AAEE-A09AA4863F75}" presName="compNode" presStyleCnt="0"/>
      <dgm:spPr/>
    </dgm:pt>
    <dgm:pt modelId="{21844AD2-6199-484D-9575-806882C13237}" type="pres">
      <dgm:prSet presAssocID="{E9463B85-5D74-4C8B-AAEE-A09AA4863F75}" presName="bgRect" presStyleLbl="bgShp" presStyleIdx="3" presStyleCnt="4"/>
      <dgm:spPr/>
    </dgm:pt>
    <dgm:pt modelId="{B2706D94-C745-41B4-9F5A-2FC34EFEB554}" type="pres">
      <dgm:prSet presAssocID="{E9463B85-5D74-4C8B-AAEE-A09AA4863F75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E7FCC078-2D03-4C73-8FED-ABFA634E6FFD}" type="pres">
      <dgm:prSet presAssocID="{E9463B85-5D74-4C8B-AAEE-A09AA4863F75}" presName="spaceRect" presStyleCnt="0"/>
      <dgm:spPr/>
    </dgm:pt>
    <dgm:pt modelId="{C82E9399-02A9-42E6-970E-3DA43432AA00}" type="pres">
      <dgm:prSet presAssocID="{E9463B85-5D74-4C8B-AAEE-A09AA4863F75}" presName="parTx" presStyleLbl="revTx" presStyleIdx="3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C2A2ED36-0C16-4E3D-AF68-16441A472971}" type="presOf" srcId="{DB40B3B5-F035-4454-B524-B128FED364FA}" destId="{2BC36942-A84C-4F35-82DA-1EC5790F87A6}" srcOrd="0" destOrd="0" presId="urn:microsoft.com/office/officeart/2018/2/layout/IconVerticalSolidList"/>
    <dgm:cxn modelId="{714B9762-633A-4DA5-9717-1D6064F64261}" type="presOf" srcId="{0E6D81AB-7C7B-4B98-86D0-A7BDC416B8A7}" destId="{9C677FCA-40CB-4DD9-8B9C-FCE5116FB5D6}" srcOrd="0" destOrd="0" presId="urn:microsoft.com/office/officeart/2018/2/layout/IconVerticalSolidList"/>
    <dgm:cxn modelId="{C0FE0DD6-1D4A-4A0C-993A-A88E7EF34FBC}" srcId="{0D185DD6-C0A9-4C05-84FE-11CB662A0993}" destId="{DB40B3B5-F035-4454-B524-B128FED364FA}" srcOrd="2" destOrd="0" parTransId="{C2E6DCD2-0A80-4D87-A3FC-316162DEBF5E}" sibTransId="{67575990-C01F-4835-BF45-6E4E8F4CD84B}"/>
    <dgm:cxn modelId="{BE0DF7A9-118D-475B-91B4-56CDE6B2AA66}" srcId="{0D185DD6-C0A9-4C05-84FE-11CB662A0993}" destId="{0E6D81AB-7C7B-4B98-86D0-A7BDC416B8A7}" srcOrd="0" destOrd="0" parTransId="{9FDBD51B-898E-4510-B8A9-2BC63032FF6D}" sibTransId="{40BF681A-0310-4D23-A1F7-D061293A186D}"/>
    <dgm:cxn modelId="{3DCDEA6B-7004-42B4-AAFE-12ECB267971F}" type="presOf" srcId="{0D185DD6-C0A9-4C05-84FE-11CB662A0993}" destId="{C2E385A1-2CFD-43BA-B048-529C24FAFC66}" srcOrd="0" destOrd="0" presId="urn:microsoft.com/office/officeart/2018/2/layout/IconVerticalSolidList"/>
    <dgm:cxn modelId="{10A41B3B-3B83-46E3-A307-01D2B9490BCE}" srcId="{0D185DD6-C0A9-4C05-84FE-11CB662A0993}" destId="{E9463B85-5D74-4C8B-AAEE-A09AA4863F75}" srcOrd="3" destOrd="0" parTransId="{3467436D-50DD-4E0E-9C92-01794BCB8420}" sibTransId="{DFA40E63-F326-46F8-B8F4-251B6D160F07}"/>
    <dgm:cxn modelId="{2CDFFBEE-9FFF-4988-93D9-1A2D0C4488EF}" type="presOf" srcId="{E9463B85-5D74-4C8B-AAEE-A09AA4863F75}" destId="{C82E9399-02A9-42E6-970E-3DA43432AA00}" srcOrd="0" destOrd="0" presId="urn:microsoft.com/office/officeart/2018/2/layout/IconVerticalSolidList"/>
    <dgm:cxn modelId="{94CF2245-3F9B-4F63-AAE2-8FE0B3175E0D}" srcId="{0D185DD6-C0A9-4C05-84FE-11CB662A0993}" destId="{9C280931-C7D5-4AC4-98F7-02A7E4D8775B}" srcOrd="1" destOrd="0" parTransId="{1AF9E4F9-361B-4D1B-8384-5CEC52CBE489}" sibTransId="{329B3C3A-5F68-4960-ADFE-1C874DF2C730}"/>
    <dgm:cxn modelId="{CB6E4AFE-01E7-4668-AF03-506720A772D2}" type="presOf" srcId="{9C280931-C7D5-4AC4-98F7-02A7E4D8775B}" destId="{194459AA-E00C-4AA3-AB6D-100D85FC763F}" srcOrd="0" destOrd="0" presId="urn:microsoft.com/office/officeart/2018/2/layout/IconVerticalSolidList"/>
    <dgm:cxn modelId="{9F1E6DF4-EBF2-4C0A-814D-9707910D2774}" type="presParOf" srcId="{C2E385A1-2CFD-43BA-B048-529C24FAFC66}" destId="{F3BFD0C1-F5B4-45F3-BF33-5A95DD62DF55}" srcOrd="0" destOrd="0" presId="urn:microsoft.com/office/officeart/2018/2/layout/IconVerticalSolidList"/>
    <dgm:cxn modelId="{9E355970-E93A-4A7F-BA95-5F65E1A3C3BC}" type="presParOf" srcId="{F3BFD0C1-F5B4-45F3-BF33-5A95DD62DF55}" destId="{2BFBA1E3-9715-43F4-976C-42991544BC9D}" srcOrd="0" destOrd="0" presId="urn:microsoft.com/office/officeart/2018/2/layout/IconVerticalSolidList"/>
    <dgm:cxn modelId="{09E3D57E-9A4F-49D1-B278-4438938EC8D2}" type="presParOf" srcId="{F3BFD0C1-F5B4-45F3-BF33-5A95DD62DF55}" destId="{0F60D0EA-46E7-419D-8848-992038464212}" srcOrd="1" destOrd="0" presId="urn:microsoft.com/office/officeart/2018/2/layout/IconVerticalSolidList"/>
    <dgm:cxn modelId="{9A0B78B6-890E-474B-BE82-B86E9F2C16D6}" type="presParOf" srcId="{F3BFD0C1-F5B4-45F3-BF33-5A95DD62DF55}" destId="{E9A7E976-18D2-4ABD-9E51-57C68D0D2B66}" srcOrd="2" destOrd="0" presId="urn:microsoft.com/office/officeart/2018/2/layout/IconVerticalSolidList"/>
    <dgm:cxn modelId="{84529F7D-FB1A-4F86-B9A9-BE95A25C4F12}" type="presParOf" srcId="{F3BFD0C1-F5B4-45F3-BF33-5A95DD62DF55}" destId="{9C677FCA-40CB-4DD9-8B9C-FCE5116FB5D6}" srcOrd="3" destOrd="0" presId="urn:microsoft.com/office/officeart/2018/2/layout/IconVerticalSolidList"/>
    <dgm:cxn modelId="{CB806E26-11EE-489A-822D-7D1E7A16BC3F}" type="presParOf" srcId="{C2E385A1-2CFD-43BA-B048-529C24FAFC66}" destId="{CB9B6F46-9AD7-47E0-89A9-B8E5C4B17724}" srcOrd="1" destOrd="0" presId="urn:microsoft.com/office/officeart/2018/2/layout/IconVerticalSolidList"/>
    <dgm:cxn modelId="{62613B33-1488-4E65-A464-A39334360F77}" type="presParOf" srcId="{C2E385A1-2CFD-43BA-B048-529C24FAFC66}" destId="{EBAA93AA-E811-4677-BEDD-4C1E366CCE6E}" srcOrd="2" destOrd="0" presId="urn:microsoft.com/office/officeart/2018/2/layout/IconVerticalSolidList"/>
    <dgm:cxn modelId="{F7D06FC6-C562-4FA1-A43C-FA0B8F2ABE95}" type="presParOf" srcId="{EBAA93AA-E811-4677-BEDD-4C1E366CCE6E}" destId="{A293A6AD-1323-4800-8620-FF6F00394EBF}" srcOrd="0" destOrd="0" presId="urn:microsoft.com/office/officeart/2018/2/layout/IconVerticalSolidList"/>
    <dgm:cxn modelId="{3A89D5B3-5AB0-4753-8DC0-14FE842DE136}" type="presParOf" srcId="{EBAA93AA-E811-4677-BEDD-4C1E366CCE6E}" destId="{9C80A513-89B1-4E7A-8659-CA63F7F07E69}" srcOrd="1" destOrd="0" presId="urn:microsoft.com/office/officeart/2018/2/layout/IconVerticalSolidList"/>
    <dgm:cxn modelId="{DE022725-0533-4FB9-9F91-4A9D986FD520}" type="presParOf" srcId="{EBAA93AA-E811-4677-BEDD-4C1E366CCE6E}" destId="{701AF262-AFE5-4A1C-84A4-E32A6347F678}" srcOrd="2" destOrd="0" presId="urn:microsoft.com/office/officeart/2018/2/layout/IconVerticalSolidList"/>
    <dgm:cxn modelId="{24AA784E-7385-4C71-B329-A66A84EFB56A}" type="presParOf" srcId="{EBAA93AA-E811-4677-BEDD-4C1E366CCE6E}" destId="{194459AA-E00C-4AA3-AB6D-100D85FC763F}" srcOrd="3" destOrd="0" presId="urn:microsoft.com/office/officeart/2018/2/layout/IconVerticalSolidList"/>
    <dgm:cxn modelId="{EE20BF98-7463-4EF0-86A9-5FC13A93E20D}" type="presParOf" srcId="{C2E385A1-2CFD-43BA-B048-529C24FAFC66}" destId="{6B564CAC-4AE8-4FBE-AD8B-B17A0A9E5A9D}" srcOrd="3" destOrd="0" presId="urn:microsoft.com/office/officeart/2018/2/layout/IconVerticalSolidList"/>
    <dgm:cxn modelId="{3980A650-FB63-4D1E-B20A-AD1295961BBE}" type="presParOf" srcId="{C2E385A1-2CFD-43BA-B048-529C24FAFC66}" destId="{EF448EEF-9E99-4208-B9AD-BA2B1C2DD5D8}" srcOrd="4" destOrd="0" presId="urn:microsoft.com/office/officeart/2018/2/layout/IconVerticalSolidList"/>
    <dgm:cxn modelId="{AA987CC5-E2AE-410C-9432-E2F1B2B97603}" type="presParOf" srcId="{EF448EEF-9E99-4208-B9AD-BA2B1C2DD5D8}" destId="{B93E9CE1-1096-4604-9B29-8560257F76C2}" srcOrd="0" destOrd="0" presId="urn:microsoft.com/office/officeart/2018/2/layout/IconVerticalSolidList"/>
    <dgm:cxn modelId="{711C2CD7-D26C-4B6D-8A4B-980A5A093109}" type="presParOf" srcId="{EF448EEF-9E99-4208-B9AD-BA2B1C2DD5D8}" destId="{653A61AE-A62C-4023-AE92-9725D4B82D00}" srcOrd="1" destOrd="0" presId="urn:microsoft.com/office/officeart/2018/2/layout/IconVerticalSolidList"/>
    <dgm:cxn modelId="{F4038A6C-AEF9-4155-9F8C-C4DCC9AAE182}" type="presParOf" srcId="{EF448EEF-9E99-4208-B9AD-BA2B1C2DD5D8}" destId="{6FCD7C8A-BCE3-4328-B18E-19172EEFFEBD}" srcOrd="2" destOrd="0" presId="urn:microsoft.com/office/officeart/2018/2/layout/IconVerticalSolidList"/>
    <dgm:cxn modelId="{5C445492-CB9C-4DE0-97EB-25B57831DDB6}" type="presParOf" srcId="{EF448EEF-9E99-4208-B9AD-BA2B1C2DD5D8}" destId="{2BC36942-A84C-4F35-82DA-1EC5790F87A6}" srcOrd="3" destOrd="0" presId="urn:microsoft.com/office/officeart/2018/2/layout/IconVerticalSolidList"/>
    <dgm:cxn modelId="{6689B047-E551-4400-AB0A-A70AC0A920F7}" type="presParOf" srcId="{C2E385A1-2CFD-43BA-B048-529C24FAFC66}" destId="{31C380C1-69A6-458A-ADB0-6A4AFBEFFB11}" srcOrd="5" destOrd="0" presId="urn:microsoft.com/office/officeart/2018/2/layout/IconVerticalSolidList"/>
    <dgm:cxn modelId="{C6A53FB9-3F6B-4389-AC6D-C39D0C6D8C1E}" type="presParOf" srcId="{C2E385A1-2CFD-43BA-B048-529C24FAFC66}" destId="{3D1731AC-00B9-406A-B139-A5DC36639A37}" srcOrd="6" destOrd="0" presId="urn:microsoft.com/office/officeart/2018/2/layout/IconVerticalSolidList"/>
    <dgm:cxn modelId="{7A848220-05D1-4363-9A08-C67E34AFDC46}" type="presParOf" srcId="{3D1731AC-00B9-406A-B139-A5DC36639A37}" destId="{21844AD2-6199-484D-9575-806882C13237}" srcOrd="0" destOrd="0" presId="urn:microsoft.com/office/officeart/2018/2/layout/IconVerticalSolidList"/>
    <dgm:cxn modelId="{BD0F175F-070C-479A-AF49-247312502B36}" type="presParOf" srcId="{3D1731AC-00B9-406A-B139-A5DC36639A37}" destId="{B2706D94-C745-41B4-9F5A-2FC34EFEB554}" srcOrd="1" destOrd="0" presId="urn:microsoft.com/office/officeart/2018/2/layout/IconVerticalSolidList"/>
    <dgm:cxn modelId="{BB7FA68D-864F-4DB0-89DE-749434946F0C}" type="presParOf" srcId="{3D1731AC-00B9-406A-B139-A5DC36639A37}" destId="{E7FCC078-2D03-4C73-8FED-ABFA634E6FFD}" srcOrd="2" destOrd="0" presId="urn:microsoft.com/office/officeart/2018/2/layout/IconVerticalSolidList"/>
    <dgm:cxn modelId="{EA1BD15B-28F7-4009-918E-757EDC82021C}" type="presParOf" srcId="{3D1731AC-00B9-406A-B139-A5DC36639A37}" destId="{C82E9399-02A9-42E6-970E-3DA43432AA0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FBA1E3-9715-43F4-976C-42991544BC9D}">
      <dsp:nvSpPr>
        <dsp:cNvPr id="0" name=""/>
        <dsp:cNvSpPr/>
      </dsp:nvSpPr>
      <dsp:spPr>
        <a:xfrm>
          <a:off x="0" y="2442"/>
          <a:ext cx="6513603" cy="123800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60D0EA-46E7-419D-8848-992038464212}">
      <dsp:nvSpPr>
        <dsp:cNvPr id="0" name=""/>
        <dsp:cNvSpPr/>
      </dsp:nvSpPr>
      <dsp:spPr>
        <a:xfrm>
          <a:off x="374497" y="280994"/>
          <a:ext cx="680904" cy="680904"/>
        </a:xfrm>
        <a:prstGeom prst="rect">
          <a:avLst/>
        </a:prstGeom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677FCA-40CB-4DD9-8B9C-FCE5116FB5D6}">
      <dsp:nvSpPr>
        <dsp:cNvPr id="0" name=""/>
        <dsp:cNvSpPr/>
      </dsp:nvSpPr>
      <dsp:spPr>
        <a:xfrm>
          <a:off x="1429899" y="2442"/>
          <a:ext cx="5083704" cy="12380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023" tIns="131023" rIns="131023" bIns="131023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/>
            <a:t>Networking</a:t>
          </a:r>
        </a:p>
      </dsp:txBody>
      <dsp:txXfrm>
        <a:off x="1429899" y="2442"/>
        <a:ext cx="5083704" cy="1238008"/>
      </dsp:txXfrm>
    </dsp:sp>
    <dsp:sp modelId="{A293A6AD-1323-4800-8620-FF6F00394EBF}">
      <dsp:nvSpPr>
        <dsp:cNvPr id="0" name=""/>
        <dsp:cNvSpPr/>
      </dsp:nvSpPr>
      <dsp:spPr>
        <a:xfrm>
          <a:off x="0" y="1549953"/>
          <a:ext cx="6513603" cy="123800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80A513-89B1-4E7A-8659-CA63F7F07E69}">
      <dsp:nvSpPr>
        <dsp:cNvPr id="0" name=""/>
        <dsp:cNvSpPr/>
      </dsp:nvSpPr>
      <dsp:spPr>
        <a:xfrm>
          <a:off x="374497" y="1828505"/>
          <a:ext cx="680904" cy="68090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4459AA-E00C-4AA3-AB6D-100D85FC763F}">
      <dsp:nvSpPr>
        <dsp:cNvPr id="0" name=""/>
        <dsp:cNvSpPr/>
      </dsp:nvSpPr>
      <dsp:spPr>
        <a:xfrm>
          <a:off x="1429899" y="1549953"/>
          <a:ext cx="5083704" cy="12380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023" tIns="131023" rIns="131023" bIns="131023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/>
            <a:t>Distributed Applications</a:t>
          </a:r>
        </a:p>
      </dsp:txBody>
      <dsp:txXfrm>
        <a:off x="1429899" y="1549953"/>
        <a:ext cx="5083704" cy="1238008"/>
      </dsp:txXfrm>
    </dsp:sp>
    <dsp:sp modelId="{B93E9CE1-1096-4604-9B29-8560257F76C2}">
      <dsp:nvSpPr>
        <dsp:cNvPr id="0" name=""/>
        <dsp:cNvSpPr/>
      </dsp:nvSpPr>
      <dsp:spPr>
        <a:xfrm>
          <a:off x="0" y="3097464"/>
          <a:ext cx="6513603" cy="123800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3A61AE-A62C-4023-AE92-9725D4B82D00}">
      <dsp:nvSpPr>
        <dsp:cNvPr id="0" name=""/>
        <dsp:cNvSpPr/>
      </dsp:nvSpPr>
      <dsp:spPr>
        <a:xfrm>
          <a:off x="374497" y="3376015"/>
          <a:ext cx="680904" cy="680904"/>
        </a:xfrm>
        <a:prstGeom prst="rect">
          <a:avLst/>
        </a:prstGeom>
        <a:blipFill>
          <a:blip xmlns:r="http://schemas.openxmlformats.org/officeDocument/2006/relationships"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C36942-A84C-4F35-82DA-1EC5790F87A6}">
      <dsp:nvSpPr>
        <dsp:cNvPr id="0" name=""/>
        <dsp:cNvSpPr/>
      </dsp:nvSpPr>
      <dsp:spPr>
        <a:xfrm>
          <a:off x="1429899" y="3097464"/>
          <a:ext cx="5083704" cy="12380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023" tIns="131023" rIns="131023" bIns="131023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/>
            <a:t>Failures and Anomaly detection</a:t>
          </a:r>
        </a:p>
      </dsp:txBody>
      <dsp:txXfrm>
        <a:off x="1429899" y="3097464"/>
        <a:ext cx="5083704" cy="1238008"/>
      </dsp:txXfrm>
    </dsp:sp>
    <dsp:sp modelId="{21844AD2-6199-484D-9575-806882C13237}">
      <dsp:nvSpPr>
        <dsp:cNvPr id="0" name=""/>
        <dsp:cNvSpPr/>
      </dsp:nvSpPr>
      <dsp:spPr>
        <a:xfrm>
          <a:off x="0" y="4644974"/>
          <a:ext cx="6513603" cy="123800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706D94-C745-41B4-9F5A-2FC34EFEB554}">
      <dsp:nvSpPr>
        <dsp:cNvPr id="0" name=""/>
        <dsp:cNvSpPr/>
      </dsp:nvSpPr>
      <dsp:spPr>
        <a:xfrm>
          <a:off x="374497" y="4923526"/>
          <a:ext cx="680904" cy="68090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2E9399-02A9-42E6-970E-3DA43432AA00}">
      <dsp:nvSpPr>
        <dsp:cNvPr id="0" name=""/>
        <dsp:cNvSpPr/>
      </dsp:nvSpPr>
      <dsp:spPr>
        <a:xfrm>
          <a:off x="1429899" y="4644974"/>
          <a:ext cx="5083704" cy="12380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023" tIns="131023" rIns="131023" bIns="131023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/>
            <a:t>Site Reliability Engineering With a focus on Resilient Architectures and Fault-Tolerance</a:t>
          </a:r>
        </a:p>
      </dsp:txBody>
      <dsp:txXfrm>
        <a:off x="1429899" y="4644974"/>
        <a:ext cx="5083704" cy="12380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2B48AF-E50E-429D-8D89-9F9682C2FBD3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63CEAD-6842-4D79-B3D2-DC2A4D066F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2796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dule 1 and 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63CEAD-6842-4D79-B3D2-DC2A4D066FD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069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4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293383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5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70958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6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526447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7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332569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8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233121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9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856586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30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39035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Be prepared to diversify yourself &amp; experience many aspects of your profess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6D58B9-E8F7-458E-8123-1B015B7D078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989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5211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904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20340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4426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0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47167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1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033109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2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269394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57066" indent="-291179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64717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30604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96491" indent="-232943" defTabSz="947950" eaLnBrk="0" hangingPunct="0"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62377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3028264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94151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960038" indent="-232943" defTabSz="94795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fld id="{46C2FD20-B88A-4AE0-99F1-7073FE2A1F63}" type="slidenum">
              <a:rPr lang="en-US" i="0" smtClean="0">
                <a:ea typeface="SimSun" pitchFamily="2" charset="-122"/>
              </a:rPr>
              <a:pPr eaLnBrk="1" hangingPunct="1"/>
              <a:t>23</a:t>
            </a:fld>
            <a:endParaRPr lang="en-US" i="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17037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B1E37-42C2-4AFD-A32A-ECD8617859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5B2D3F-971F-4DC9-A8E4-F5CB80717D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4C399B-008A-4414-A96A-9FA2BAFA24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532B0B-2229-4EB0-A9B3-125EA5AEB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5B0259-B4E9-4909-B887-862BAB905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0995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502E4-4236-40CF-973D-ED3B060C6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49B707-9DFE-4F53-AF3C-B1FEAA1752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1C69F7-1F2B-4910-9735-5197C55E0B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C8F654-B21A-4D39-AFB3-35532EF6F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755F3B-CF5D-4E90-921E-C447F9FB4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39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AEE7959-9475-494C-BB00-ACBC88A370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86C932-FB4D-4B2D-800A-F3EC1D230F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C3B327-0F43-4D8D-AE63-F19862D70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ACFCD-40BC-4B67-9111-4EA342837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B81808-6A12-44A0-90D2-3447D9311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3810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981" y="-1546"/>
            <a:ext cx="12192000" cy="685643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6736" y="4262401"/>
            <a:ext cx="6476627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39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dirty="0">
              <a:solidFill>
                <a:srgbClr val="990000"/>
              </a:solidFill>
            </a:endParaRP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6" name="Picture 35"/>
          <p:cNvPicPr>
            <a:picLocks noChangeAspect="1"/>
          </p:cNvPicPr>
          <p:nvPr userDrawn="1"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304" t="91374" r="3020"/>
          <a:stretch/>
        </p:blipFill>
        <p:spPr>
          <a:xfrm>
            <a:off x="9689865" y="6230415"/>
            <a:ext cx="2350090" cy="59158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43498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ließ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737600" y="6528871"/>
            <a:ext cx="2987796" cy="329130"/>
          </a:xfrm>
          <a:prstGeom prst="rect">
            <a:avLst/>
          </a:prstGeom>
        </p:spPr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5017" y="403227"/>
            <a:ext cx="11260379" cy="960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799"/>
              </a:lnSpc>
              <a:spcBef>
                <a:spcPts val="0"/>
              </a:spcBef>
              <a:buNone/>
              <a:defRPr sz="2799" b="1" cap="all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HEADLINE 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5017" y="1628679"/>
            <a:ext cx="11260379" cy="4861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99"/>
              </a:spcAft>
              <a:buFontTx/>
              <a:buNone/>
              <a:defRPr sz="2399">
                <a:latin typeface="+mn-lt"/>
                <a:ea typeface="BMW Type Global Pro Regular" pitchFamily="2" charset="0"/>
                <a:cs typeface="BMW Type Global Pro Regular" pitchFamily="2" charset="0"/>
              </a:defRPr>
            </a:lvl1pPr>
            <a:lvl2pPr marL="285607" indent="-285607">
              <a:lnSpc>
                <a:spcPct val="100000"/>
              </a:lnSpc>
              <a:spcBef>
                <a:spcPts val="0"/>
              </a:spcBef>
              <a:spcAft>
                <a:spcPts val="1199"/>
              </a:spcAft>
              <a:buFont typeface="Symbol" pitchFamily="18" charset="2"/>
              <a:buChar char="-"/>
              <a:defRPr sz="2399">
                <a:latin typeface="+mn-lt"/>
                <a:ea typeface="BMW Type Global Pro Regular" pitchFamily="2" charset="0"/>
                <a:cs typeface="BMW Type Global Pro Regular" pitchFamily="2" charset="0"/>
              </a:defRPr>
            </a:lvl2pPr>
            <a:lvl3pPr marL="633096" indent="-228486">
              <a:lnSpc>
                <a:spcPct val="100000"/>
              </a:lnSpc>
              <a:spcBef>
                <a:spcPts val="0"/>
              </a:spcBef>
              <a:spcAft>
                <a:spcPts val="1199"/>
              </a:spcAft>
              <a:buFont typeface="Symbol" pitchFamily="18" charset="2"/>
              <a:buChar char="-"/>
              <a:defRPr sz="2399">
                <a:latin typeface="+mn-lt"/>
                <a:ea typeface="BMW Type Global Pro Regular" pitchFamily="2" charset="0"/>
                <a:cs typeface="BMW Type Global Pro Regular" pitchFamily="2" charset="0"/>
              </a:defRPr>
            </a:lvl3pPr>
            <a:lvl4pPr marL="985345" indent="-228486">
              <a:lnSpc>
                <a:spcPct val="100000"/>
              </a:lnSpc>
              <a:spcBef>
                <a:spcPts val="0"/>
              </a:spcBef>
              <a:spcAft>
                <a:spcPts val="1199"/>
              </a:spcAft>
              <a:buFont typeface="Symbol" pitchFamily="18" charset="2"/>
              <a:buChar char="-"/>
              <a:defRPr sz="2399">
                <a:latin typeface="+mn-lt"/>
                <a:ea typeface="BMW Type Global Pro Regular" pitchFamily="2" charset="0"/>
                <a:cs typeface="BMW Type Global Pro Regular" pitchFamily="2" charset="0"/>
              </a:defRPr>
            </a:lvl4pPr>
            <a:lvl5pPr marL="1348700" indent="-228486">
              <a:lnSpc>
                <a:spcPct val="100000"/>
              </a:lnSpc>
              <a:spcBef>
                <a:spcPts val="0"/>
              </a:spcBef>
              <a:spcAft>
                <a:spcPts val="1199"/>
              </a:spcAft>
              <a:buFont typeface="Symbol" pitchFamily="18" charset="2"/>
              <a:buChar char="-"/>
              <a:defRPr sz="2399">
                <a:latin typeface="+mn-lt"/>
                <a:ea typeface="BMW Type Global Pro Regular" pitchFamily="2" charset="0"/>
                <a:cs typeface="BMW Type Global Pro Regular" pitchFamily="2" charset="0"/>
              </a:defRPr>
            </a:lvl5pPr>
          </a:lstStyle>
          <a:p>
            <a:pPr lvl="0"/>
            <a:r>
              <a:rPr lang="de-DE" dirty="0"/>
              <a:t>Fließ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677145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736" y="1412875"/>
            <a:ext cx="11082915" cy="286104"/>
          </a:xfr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9450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A44CE8-7DDD-4117-B0E9-8BA1AA61F1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37D5F5-41DA-48C3-8250-C736BE0140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71C2A3-F72C-45D3-8FDB-3027B7EE9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CB02BC-640F-4C30-976F-3B62CD13A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CA384-4122-4706-9FDE-2C3FBC5A8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567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CC627-84EA-4A59-84F8-27AA9FEBE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CD019B-DFF4-4EB0-B596-9EEC7F8036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C17A84-9D06-4034-BDAD-0F94F66AB2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A0F6F-9EFB-43EB-AC4C-13B3987CB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EB4083-8137-4720-BE58-1C3C0B307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203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0DCDD-23F9-4877-A035-3CBA27315A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52E9AC-5672-412A-84F1-DD4E11631F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D21B73-3D2A-4D0B-BA4A-4D22481449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738D14-CEC8-4518-8D03-870E4C8CC2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7D51C1-E7FA-4E75-A6E1-C6749F1F3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BC3471-7172-43E6-96D2-8B99EF05E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222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6C12D-B67F-4B89-AF50-16F82469C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EF2B7A-052E-46C0-B5E7-BD43CFEBF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CA7D41A-BB2A-4927-8298-461E833109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106E33-8BB0-40EF-91A2-8B78C5E3A8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9341102-7181-4DCE-8000-560262BA89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9B646AF-5BF5-4EB3-8D03-0F604BFAF3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E5B61E6-8FC6-4D6C-930C-0A0FDFE62B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499B323-0439-446E-AC3C-8CA9C3BFC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233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72261F-2D6E-4AFA-B2CB-761451F88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4B4020-350E-4C61-8861-3D03D21BF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D5D2CF-68E7-4C2B-B335-5FD0D61AB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9E109F-DC11-4268-B637-8092C3718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368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A71E82-B5D8-46C2-8E5F-5BB0EA67E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D8566-C2A7-478F-A86C-F33A6B95B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A04EDA-5A27-4386-B77A-2550E4A6C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9301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B7CB3-39F4-4A25-9C59-612E0BF04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F783FF-1749-4C0F-903A-5C9C73061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5D84DC-11EE-42B1-BE95-16EAC3AF40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F79673-0B81-4ABD-824B-2D011B6A31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308E41-79BC-4833-88DB-36393D7E7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361B2A-35E9-4774-BF80-D381DF647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791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5C7E3C-9564-4F54-ABEC-A790E3728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BA2C444-79E0-4290-AF7D-A31ED2BD2E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67060D-A484-4A60-A0AD-27603993A3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682FAB-D563-463A-9DE0-B867E85941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166FEB-727B-4C9E-86B9-56A0F5236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BFC319-F596-4B19-9ADC-E5BF4243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9098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BB642A-FC4E-42C9-9FB6-39BCB875E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629" y="1034597"/>
            <a:ext cx="11386958" cy="5003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24F901-1842-452B-915F-4D2BEE5665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C9E250-97EE-4C24-8777-2D670069F1C8}" type="datetimeFigureOut">
              <a:rPr lang="en-US" smtClean="0"/>
              <a:t>8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D3680E-D100-4A54-9D0B-0D1CE35302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ADB196-A1EF-43AE-B846-68FE48DEAA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89236A-2BCD-4920-921B-BF42637A53D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4C8AAF2-5834-2C48-83DF-5EC46CAE0B66}"/>
              </a:ext>
            </a:extLst>
          </p:cNvPr>
          <p:cNvSpPr txBox="1">
            <a:spLocks/>
          </p:cNvSpPr>
          <p:nvPr userDrawn="1"/>
        </p:nvSpPr>
        <p:spPr>
          <a:xfrm>
            <a:off x="643672" y="0"/>
            <a:ext cx="11386958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3733" dirty="0">
              <a:solidFill>
                <a:srgbClr val="FF0000"/>
              </a:solidFill>
              <a:latin typeface="Tahoma" pitchFamily="34" charset="0"/>
              <a:ea typeface="MS PGothic" pitchFamily="34" charset="-128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699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  <p:sldLayoutId id="214748366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wJuAEvbbOx8?;autoplay=1;controls=0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8.jp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hyperlink" Target="http://www.thebluediamondgallery.com/tablet/a/artificial-intelligence.html" TargetMode="External"/><Relationship Id="rId9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video" Target="https://www.youtube.com/embed/_EWzoZegXmo?;autoplay=1;controls=0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video" Target="https://www.youtube.com/embed/QcxNcULNyVs?;autoplay=1;controls=0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gi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gi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gi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gi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gi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tiff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10" Type="http://schemas.openxmlformats.org/officeDocument/2006/relationships/image" Target="../media/image49.tiff"/><Relationship Id="rId4" Type="http://schemas.openxmlformats.org/officeDocument/2006/relationships/image" Target="../media/image43.png"/><Relationship Id="rId9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50.tiff"/><Relationship Id="rId7" Type="http://schemas.openxmlformats.org/officeDocument/2006/relationships/hyperlink" Target="https://www.home-assistant.io/components/binary_sensor.zigbee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11" Type="http://schemas.openxmlformats.org/officeDocument/2006/relationships/hyperlink" Target="http://topone2u.blogspot.com/2013_04_01_archive.html" TargetMode="External"/><Relationship Id="rId5" Type="http://schemas.openxmlformats.org/officeDocument/2006/relationships/hyperlink" Target="http://theduran.com/forthcoming-5g-networks-subject-of-possible-nationalization-by-us-govt/" TargetMode="External"/><Relationship Id="rId10" Type="http://schemas.openxmlformats.org/officeDocument/2006/relationships/image" Target="../media/image54.jpg"/><Relationship Id="rId4" Type="http://schemas.openxmlformats.org/officeDocument/2006/relationships/image" Target="../media/image51.jpg"/><Relationship Id="rId9" Type="http://schemas.openxmlformats.org/officeDocument/2006/relationships/hyperlink" Target="http://benoitfelten.com/?p=413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55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://analog-green.tistory.com/" TargetMode="External"/><Relationship Id="rId13" Type="http://schemas.openxmlformats.org/officeDocument/2006/relationships/hyperlink" Target="http://dret.net/lectures/iot-spring15/protocols" TargetMode="External"/><Relationship Id="rId3" Type="http://schemas.openxmlformats.org/officeDocument/2006/relationships/image" Target="../media/image67.png"/><Relationship Id="rId7" Type="http://schemas.openxmlformats.org/officeDocument/2006/relationships/image" Target="../media/image69.png"/><Relationship Id="rId12" Type="http://schemas.openxmlformats.org/officeDocument/2006/relationships/image" Target="../media/image7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en.wikipedia.org/wiki/Node.js" TargetMode="External"/><Relationship Id="rId11" Type="http://schemas.openxmlformats.org/officeDocument/2006/relationships/image" Target="../media/image71.tiff"/><Relationship Id="rId5" Type="http://schemas.openxmlformats.org/officeDocument/2006/relationships/image" Target="../media/image68.png"/><Relationship Id="rId10" Type="http://schemas.openxmlformats.org/officeDocument/2006/relationships/hyperlink" Target="https://en.wikipedia.org/wiki/TensorFlow" TargetMode="External"/><Relationship Id="rId4" Type="http://schemas.openxmlformats.org/officeDocument/2006/relationships/hyperlink" Target="https://commons.wikimedia.org/wiki/File:IFTTT_Logo.svg" TargetMode="External"/><Relationship Id="rId9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vu-resilient-distributed-systems/lectures-fall-2019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6cwK9PZC23Y?feature=oembed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yjb-6YYzLEg?feature=oembed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T0XEiCNlq9k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9">
            <a:extLst>
              <a:ext uri="{FF2B5EF4-FFF2-40B4-BE49-F238E27FC236}">
                <a16:creationId xmlns:a16="http://schemas.microsoft.com/office/drawing/2014/main" id="{559AE206-7EBA-4D33-8BC9-9D8158553F0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035FED-50C4-1640-9017-FCD3508BDB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199" y="4525347"/>
            <a:ext cx="6801321" cy="1737360"/>
          </a:xfrm>
        </p:spPr>
        <p:txBody>
          <a:bodyPr anchor="ctr">
            <a:normAutofit/>
          </a:bodyPr>
          <a:lstStyle/>
          <a:p>
            <a:pPr algn="r"/>
            <a:r>
              <a:rPr lang="en-US" dirty="0"/>
              <a:t>Resilient Distributed System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DABC4E6-12A6-884A-8E42-F0173F6980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61258" y="4525347"/>
            <a:ext cx="3258675" cy="1737360"/>
          </a:xfrm>
        </p:spPr>
        <p:txBody>
          <a:bodyPr anchor="ctr">
            <a:normAutofit/>
          </a:bodyPr>
          <a:lstStyle/>
          <a:p>
            <a:pPr algn="l"/>
            <a:r>
              <a:rPr lang="en-US" dirty="0"/>
              <a:t>Prof. Abhishek Dubey</a:t>
            </a:r>
          </a:p>
          <a:p>
            <a:pPr algn="l"/>
            <a:r>
              <a:rPr lang="en-US" dirty="0"/>
              <a:t>Fall 2019</a:t>
            </a:r>
          </a:p>
        </p:txBody>
      </p:sp>
      <p:sp>
        <p:nvSpPr>
          <p:cNvPr id="17" name="Oval 11">
            <a:extLst>
              <a:ext uri="{FF2B5EF4-FFF2-40B4-BE49-F238E27FC236}">
                <a16:creationId xmlns:a16="http://schemas.microsoft.com/office/drawing/2014/main" id="{6437D937-A7F1-4011-92B4-328E5BE1B16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88567" y="620480"/>
            <a:ext cx="2243800" cy="2243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672F332-AF08-46C6-94F0-77684310D7B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395001" y="2466604"/>
            <a:ext cx="962395" cy="96239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4244EF8-D73A-40E1-BE73-D46E6B4B04E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25829" y="2327988"/>
            <a:ext cx="293695" cy="29369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B84D7E8-4ECB-42D7-ADBF-01689B0F24A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92113" y="0"/>
            <a:ext cx="5699887" cy="4059244"/>
          </a:xfrm>
          <a:custGeom>
            <a:avLst/>
            <a:gdLst>
              <a:gd name="connsiteX0" fmla="*/ 0 w 5699887"/>
              <a:gd name="connsiteY0" fmla="*/ 0 h 4059244"/>
              <a:gd name="connsiteX1" fmla="*/ 5699887 w 5699887"/>
              <a:gd name="connsiteY1" fmla="*/ 0 h 4059244"/>
              <a:gd name="connsiteX2" fmla="*/ 5699887 w 5699887"/>
              <a:gd name="connsiteY2" fmla="*/ 3944096 h 4059244"/>
              <a:gd name="connsiteX3" fmla="*/ 5525775 w 5699887"/>
              <a:gd name="connsiteY3" fmla="*/ 3980429 h 4059244"/>
              <a:gd name="connsiteX4" fmla="*/ 4663256 w 5699887"/>
              <a:gd name="connsiteY4" fmla="*/ 4059244 h 4059244"/>
              <a:gd name="connsiteX5" fmla="*/ 8566 w 5699887"/>
              <a:gd name="connsiteY5" fmla="*/ 67422 h 405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9887" h="4059244">
                <a:moveTo>
                  <a:pt x="0" y="0"/>
                </a:moveTo>
                <a:lnTo>
                  <a:pt x="5699887" y="0"/>
                </a:lnTo>
                <a:lnTo>
                  <a:pt x="5699887" y="3944096"/>
                </a:lnTo>
                <a:lnTo>
                  <a:pt x="5525775" y="3980429"/>
                </a:lnTo>
                <a:cubicBezTo>
                  <a:pt x="5246154" y="4032190"/>
                  <a:pt x="4957865" y="4059244"/>
                  <a:pt x="4663256" y="4059244"/>
                </a:cubicBezTo>
                <a:cubicBezTo>
                  <a:pt x="2306390" y="4059244"/>
                  <a:pt x="353936" y="2327747"/>
                  <a:pt x="8566" y="67422"/>
                </a:cubicBez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E8E38ED-369A-44C2-B635-0BED0E48A6E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800392" y="4525347"/>
            <a:ext cx="0" cy="1737360"/>
          </a:xfrm>
          <a:prstGeom prst="line">
            <a:avLst/>
          </a:prstGeom>
          <a:ln w="1905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52250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035FED-50C4-1640-9017-FCD3508BDB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199" y="4525347"/>
            <a:ext cx="6801321" cy="1737360"/>
          </a:xfrm>
        </p:spPr>
        <p:txBody>
          <a:bodyPr anchor="ctr">
            <a:normAutofit fontScale="90000"/>
          </a:bodyPr>
          <a:lstStyle/>
          <a:p>
            <a:pPr algn="r"/>
            <a:r>
              <a:rPr lang="en-US" dirty="0"/>
              <a:t>Distributed Systems /Internet of Things – Why it Matters?</a:t>
            </a:r>
          </a:p>
        </p:txBody>
      </p:sp>
    </p:spTree>
    <p:extLst>
      <p:ext uri="{BB962C8B-B14F-4D97-AF65-F5344CB8AC3E}">
        <p14:creationId xmlns:p14="http://schemas.microsoft.com/office/powerpoint/2010/main" val="18958814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C7049CB-4E90-6742-8A9D-3D2CBFEE1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237" y="0"/>
            <a:ext cx="11386958" cy="1325563"/>
          </a:xfrm>
        </p:spPr>
        <p:txBody>
          <a:bodyPr>
            <a:normAutofit/>
          </a:bodyPr>
          <a:lstStyle/>
          <a:p>
            <a:pPr algn="ctr"/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Smart Building – Operational Efficiencies</a:t>
            </a:r>
          </a:p>
        </p:txBody>
      </p:sp>
      <p:pic>
        <p:nvPicPr>
          <p:cNvPr id="2" name="Online Media 1">
            <a:hlinkClick r:id="" action="ppaction://media"/>
            <a:extLst>
              <a:ext uri="{FF2B5EF4-FFF2-40B4-BE49-F238E27FC236}">
                <a16:creationId xmlns:a16="http://schemas.microsoft.com/office/drawing/2014/main" id="{C300CF95-C8F0-441A-BE85-89E27D1A10F1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515920" y="580410"/>
            <a:ext cx="11160159" cy="6277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1600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3708049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6" name="Rectangle 5"/>
          <p:cNvSpPr/>
          <p:nvPr/>
        </p:nvSpPr>
        <p:spPr bwMode="auto">
          <a:xfrm>
            <a:off x="0" y="1476996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929" y="211215"/>
            <a:ext cx="11386958" cy="1325563"/>
          </a:xfrm>
        </p:spPr>
        <p:txBody>
          <a:bodyPr>
            <a:normAutofit/>
          </a:bodyPr>
          <a:lstStyle/>
          <a:p>
            <a:pPr algn="ctr"/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Integrated Internet of Things is the New Megatrend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0" y="1134961"/>
            <a:ext cx="6062842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 dirty="0">
                <a:solidFill>
                  <a:schemeClr val="bg1"/>
                </a:solidFill>
                <a:latin typeface="Arial Bold"/>
              </a:rPr>
              <a:t>MEGATREND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6129158" y="1134961"/>
            <a:ext cx="6062842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 dirty="0">
                <a:solidFill>
                  <a:schemeClr val="bg1"/>
                </a:solidFill>
                <a:latin typeface="Arial Bold"/>
              </a:rPr>
              <a:t>Internet </a:t>
            </a:r>
            <a:r>
              <a:rPr lang="de-DE" sz="1399" dirty="0" err="1">
                <a:solidFill>
                  <a:schemeClr val="bg1"/>
                </a:solidFill>
                <a:latin typeface="Arial Bold"/>
              </a:rPr>
              <a:t>of</a:t>
            </a:r>
            <a:r>
              <a:rPr lang="de-DE" sz="1399" dirty="0">
                <a:solidFill>
                  <a:schemeClr val="bg1"/>
                </a:solidFill>
                <a:latin typeface="Arial Bold"/>
              </a:rPr>
              <a:t> Things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058407" y="1476996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9" name="Rectangle 8"/>
          <p:cNvSpPr/>
          <p:nvPr/>
        </p:nvSpPr>
        <p:spPr bwMode="auto">
          <a:xfrm>
            <a:off x="3058407" y="3708049"/>
            <a:ext cx="3004435" cy="2176866"/>
          </a:xfrm>
          <a:prstGeom prst="rect">
            <a:avLst/>
          </a:prstGeom>
          <a:solidFill>
            <a:srgbClr val="D7D7CD"/>
          </a:solidFill>
          <a:ln>
            <a:solidFill>
              <a:srgbClr val="D7D7CD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16" name="Rectangle 15"/>
          <p:cNvSpPr/>
          <p:nvPr/>
        </p:nvSpPr>
        <p:spPr bwMode="auto">
          <a:xfrm>
            <a:off x="6129158" y="1476996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17" name="Rectangle 16"/>
          <p:cNvSpPr/>
          <p:nvPr/>
        </p:nvSpPr>
        <p:spPr bwMode="auto">
          <a:xfrm>
            <a:off x="9187565" y="1476996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18" name="Rectangle 17"/>
          <p:cNvSpPr/>
          <p:nvPr/>
        </p:nvSpPr>
        <p:spPr bwMode="auto">
          <a:xfrm>
            <a:off x="6129158" y="3708049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sp>
        <p:nvSpPr>
          <p:cNvPr id="19" name="Rectangle 18"/>
          <p:cNvSpPr/>
          <p:nvPr/>
        </p:nvSpPr>
        <p:spPr bwMode="auto">
          <a:xfrm>
            <a:off x="9187565" y="3708049"/>
            <a:ext cx="3004435" cy="217686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dirty="0" err="1"/>
          </a:p>
        </p:txBody>
      </p:sp>
      <p:pic>
        <p:nvPicPr>
          <p:cNvPr id="29" name="Picture 21" descr="http://ecx.images-amazon.com/images/I/91FHV0xhkcL._SL1500_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8407" y="3708049"/>
            <a:ext cx="3004435" cy="2176866"/>
          </a:xfrm>
          <a:prstGeom prst="rect">
            <a:avLst/>
          </a:prstGeom>
          <a:noFill/>
        </p:spPr>
      </p:pic>
      <p:sp>
        <p:nvSpPr>
          <p:cNvPr id="34" name="Rectangle 33"/>
          <p:cNvSpPr/>
          <p:nvPr/>
        </p:nvSpPr>
        <p:spPr bwMode="auto">
          <a:xfrm>
            <a:off x="3058407" y="3708049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GLOBALIZATION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38" name="Picture 4" descr="http://cdn.ecomento.tv/wp-content/uploads/2014/01/BMW-i3-Uhr-Connected-Drive-Smartphone-Uhr-6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29158" y="1476996"/>
            <a:ext cx="3004435" cy="2176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 39"/>
          <p:cNvSpPr/>
          <p:nvPr/>
        </p:nvSpPr>
        <p:spPr bwMode="auto">
          <a:xfrm>
            <a:off x="6129158" y="1476996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ALWAYS ON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43" name="Picture 16" descr="http://www.motorvision.de/bild/2/6/3/9/2/7/bmw-autonomes-fahren-ces-2015-11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626" b="5989"/>
          <a:stretch>
            <a:fillRect/>
          </a:stretch>
        </p:blipFill>
        <p:spPr bwMode="auto">
          <a:xfrm>
            <a:off x="9187565" y="3710624"/>
            <a:ext cx="3004435" cy="2174789"/>
          </a:xfrm>
          <a:prstGeom prst="rect">
            <a:avLst/>
          </a:prstGeom>
          <a:noFill/>
        </p:spPr>
      </p:pic>
      <p:sp>
        <p:nvSpPr>
          <p:cNvPr id="45" name="Rectangle 44"/>
          <p:cNvSpPr/>
          <p:nvPr/>
        </p:nvSpPr>
        <p:spPr bwMode="auto">
          <a:xfrm>
            <a:off x="9187565" y="3708049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AUTONOMOUS DRIVING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27" name="Picture 2" descr="http://www.ipsos.fr/sites/default/files/imagecache/diaporama_slides/images/digital.jpg"/>
          <p:cNvPicPr>
            <a:picLocks noChangeAspect="1" noChangeArrowheads="1"/>
          </p:cNvPicPr>
          <p:nvPr/>
        </p:nvPicPr>
        <p:blipFill>
          <a:blip r:embed="rId5"/>
          <a:srcRect l="1056" t="1056" r="1056" b="28610"/>
          <a:stretch>
            <a:fillRect/>
          </a:stretch>
        </p:blipFill>
        <p:spPr bwMode="auto">
          <a:xfrm>
            <a:off x="9187565" y="1476996"/>
            <a:ext cx="3004435" cy="2158626"/>
          </a:xfrm>
          <a:prstGeom prst="rect">
            <a:avLst/>
          </a:prstGeom>
          <a:noFill/>
        </p:spPr>
      </p:pic>
      <p:sp>
        <p:nvSpPr>
          <p:cNvPr id="28" name="Rectangle 27"/>
          <p:cNvSpPr/>
          <p:nvPr/>
        </p:nvSpPr>
        <p:spPr bwMode="auto">
          <a:xfrm>
            <a:off x="9187565" y="1476996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SHOPPING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129158" y="3708049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 dirty="0">
                <a:solidFill>
                  <a:schemeClr val="bg1"/>
                </a:solidFill>
                <a:latin typeface="Arial Bold"/>
              </a:rPr>
              <a:t>SHARING ECONOMY</a:t>
            </a:r>
          </a:p>
        </p:txBody>
      </p:sp>
      <p:pic>
        <p:nvPicPr>
          <p:cNvPr id="36" name="Picture 6" descr="C:\Users\z002zs4j\Desktop\Pics\24914_original.jpg"/>
          <p:cNvPicPr>
            <a:picLocks noChangeAspect="1" noChangeArrowheads="1"/>
          </p:cNvPicPr>
          <p:nvPr/>
        </p:nvPicPr>
        <p:blipFill>
          <a:blip r:embed="rId6" cstate="print"/>
          <a:srcRect l="8217" t="3331"/>
          <a:stretch>
            <a:fillRect/>
          </a:stretch>
        </p:blipFill>
        <p:spPr bwMode="auto">
          <a:xfrm>
            <a:off x="3058407" y="1549628"/>
            <a:ext cx="3004435" cy="2107459"/>
          </a:xfrm>
          <a:prstGeom prst="rect">
            <a:avLst/>
          </a:prstGeom>
          <a:noFill/>
        </p:spPr>
      </p:pic>
      <p:sp>
        <p:nvSpPr>
          <p:cNvPr id="37" name="Rectangle 36"/>
          <p:cNvSpPr/>
          <p:nvPr/>
        </p:nvSpPr>
        <p:spPr bwMode="auto">
          <a:xfrm>
            <a:off x="3058407" y="1476996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CLIMATE CHANGE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39" name="Picture 14" descr="C:\Users\z002zs4j\Desktop\Pics\14058_original.JPG"/>
          <p:cNvPicPr>
            <a:picLocks noChangeAspect="1" noChangeArrowheads="1"/>
          </p:cNvPicPr>
          <p:nvPr/>
        </p:nvPicPr>
        <p:blipFill>
          <a:blip r:embed="rId7" cstate="print"/>
          <a:srcRect l="5552" r="4442" b="3331"/>
          <a:stretch>
            <a:fillRect/>
          </a:stretch>
        </p:blipFill>
        <p:spPr bwMode="auto">
          <a:xfrm>
            <a:off x="0" y="1502696"/>
            <a:ext cx="3004435" cy="2151167"/>
          </a:xfrm>
          <a:prstGeom prst="rect">
            <a:avLst/>
          </a:prstGeom>
          <a:noFill/>
        </p:spPr>
      </p:pic>
      <p:sp>
        <p:nvSpPr>
          <p:cNvPr id="44" name="Rectangle 43"/>
          <p:cNvSpPr/>
          <p:nvPr/>
        </p:nvSpPr>
        <p:spPr bwMode="auto">
          <a:xfrm>
            <a:off x="0" y="1476996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DEMOGRAPHIC CHANGE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30" name="Picture 8" descr="C:\Users\z002zs4j\Desktop\Pics\25091_original.jpg"/>
          <p:cNvPicPr>
            <a:picLocks noChangeAspect="1" noChangeArrowheads="1"/>
          </p:cNvPicPr>
          <p:nvPr/>
        </p:nvPicPr>
        <p:blipFill>
          <a:blip r:embed="rId8" cstate="print"/>
          <a:srcRect t="333" r="8217"/>
          <a:stretch>
            <a:fillRect/>
          </a:stretch>
        </p:blipFill>
        <p:spPr bwMode="auto">
          <a:xfrm>
            <a:off x="0" y="3712113"/>
            <a:ext cx="3004435" cy="2172802"/>
          </a:xfrm>
          <a:prstGeom prst="rect">
            <a:avLst/>
          </a:prstGeom>
          <a:noFill/>
        </p:spPr>
      </p:pic>
      <p:sp>
        <p:nvSpPr>
          <p:cNvPr id="31" name="Rectangle 30"/>
          <p:cNvSpPr/>
          <p:nvPr/>
        </p:nvSpPr>
        <p:spPr bwMode="auto">
          <a:xfrm>
            <a:off x="0" y="3708049"/>
            <a:ext cx="3004435" cy="215888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99">
                <a:solidFill>
                  <a:schemeClr val="bg1"/>
                </a:solidFill>
                <a:latin typeface="Arial Bold"/>
              </a:rPr>
              <a:t>URBANIZATION</a:t>
            </a:r>
            <a:endParaRPr lang="de-DE" sz="9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41" name="Picture 15" descr="http://www.lets-share.de/wp-content/uploads/2013/04/Keyvisual_Sharing_Economy_2013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9947" y="3892594"/>
            <a:ext cx="2989293" cy="20047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26956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https://blogs-images.forbes.com/louiscolumbus/files/2018/12/MHS-Markit-IoT-Vertical-Markets.jpg">
            <a:extLst>
              <a:ext uri="{FF2B5EF4-FFF2-40B4-BE49-F238E27FC236}">
                <a16:creationId xmlns:a16="http://schemas.microsoft.com/office/drawing/2014/main" id="{DDF6FB0E-312A-0C40-BA79-D8FE8C4B12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30" y="2065866"/>
            <a:ext cx="4826057" cy="3086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6F7883D2-5E57-F843-B201-D4152A68EE47}"/>
              </a:ext>
            </a:extLst>
          </p:cNvPr>
          <p:cNvSpPr txBox="1"/>
          <p:nvPr/>
        </p:nvSpPr>
        <p:spPr>
          <a:xfrm>
            <a:off x="436060" y="5663105"/>
            <a:ext cx="318465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cap="all" dirty="0"/>
              <a:t>SOURCE: IHS MARKIT, THE TOP TRANSFORMATIVE TECHNOLOGIES TO WATCH THIS YEAR, 2018 (PDF, 16 PP., NO OPT-IN).</a:t>
            </a:r>
            <a:endParaRPr lang="en-US" sz="1100" dirty="0"/>
          </a:p>
        </p:txBody>
      </p:sp>
      <p:pic>
        <p:nvPicPr>
          <p:cNvPr id="46" name="Picture 2" descr="https://blogs-images.forbes.com/louiscolumbus/files/2018/12/2018-DBS-Forecast.jpg">
            <a:extLst>
              <a:ext uri="{FF2B5EF4-FFF2-40B4-BE49-F238E27FC236}">
                <a16:creationId xmlns:a16="http://schemas.microsoft.com/office/drawing/2014/main" id="{208660CD-9195-224E-BDFA-4FBA04830D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338" y="1611849"/>
            <a:ext cx="4243676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11C46AB5-E23D-054B-B6D8-6099E141AF82}"/>
              </a:ext>
            </a:extLst>
          </p:cNvPr>
          <p:cNvSpPr txBox="1"/>
          <p:nvPr/>
        </p:nvSpPr>
        <p:spPr>
          <a:xfrm>
            <a:off x="7554949" y="6047825"/>
            <a:ext cx="35068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cap="all" dirty="0"/>
              <a:t>IoT is generating Data that is responsible for the boom in Artificial Intelligence</a:t>
            </a:r>
            <a:endParaRPr lang="en-US" sz="1100" dirty="0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30571FF0-CC51-3744-AA63-13C636B8E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427" y="243967"/>
            <a:ext cx="11386958" cy="1325563"/>
          </a:xfrm>
        </p:spPr>
        <p:txBody>
          <a:bodyPr>
            <a:normAutofit/>
          </a:bodyPr>
          <a:lstStyle/>
          <a:p>
            <a:pPr algn="ctr"/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Integrated Internet of Things is the New Megatrend</a:t>
            </a:r>
          </a:p>
        </p:txBody>
      </p:sp>
    </p:spTree>
    <p:extLst>
      <p:ext uri="{BB962C8B-B14F-4D97-AF65-F5344CB8AC3E}">
        <p14:creationId xmlns:p14="http://schemas.microsoft.com/office/powerpoint/2010/main" val="1642160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/>
          <p:cNvSpPr txBox="1">
            <a:spLocks/>
          </p:cNvSpPr>
          <p:nvPr/>
        </p:nvSpPr>
        <p:spPr>
          <a:xfrm>
            <a:off x="0" y="-153307"/>
            <a:ext cx="12192000" cy="12677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We Are In The Midst Of The Fourth Industrial Revolu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614EB1-ACA7-0F41-9357-7FDA6DF372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8222"/>
            <a:ext cx="12192000" cy="5913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5924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Food on a table&#10;&#10;Description automatically generated">
            <a:extLst>
              <a:ext uri="{FF2B5EF4-FFF2-40B4-BE49-F238E27FC236}">
                <a16:creationId xmlns:a16="http://schemas.microsoft.com/office/drawing/2014/main" id="{649A5F99-D463-AC42-BFA6-A68A119B507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4"/>
              </a:ext>
            </a:extLst>
          </a:blip>
          <a:srcRect b="4059"/>
          <a:stretch/>
        </p:blipFill>
        <p:spPr>
          <a:xfrm>
            <a:off x="4369130" y="3860576"/>
            <a:ext cx="3598010" cy="2301309"/>
          </a:xfrm>
          <a:prstGeom prst="rect">
            <a:avLst/>
          </a:prstGeom>
        </p:spPr>
      </p:pic>
      <p:pic>
        <p:nvPicPr>
          <p:cNvPr id="27" name="Picture 7" descr="Tags cloud cloud computing data Data Security Data Storage google ..."/>
          <p:cNvPicPr>
            <a:picLocks noChangeAspect="1" noChangeArrowheads="1"/>
          </p:cNvPicPr>
          <p:nvPr/>
        </p:nvPicPr>
        <p:blipFill>
          <a:blip r:embed="rId5"/>
          <a:srcRect t="1985" b="1985"/>
          <a:stretch>
            <a:fillRect/>
          </a:stretch>
        </p:blipFill>
        <p:spPr bwMode="auto">
          <a:xfrm>
            <a:off x="4369130" y="1413924"/>
            <a:ext cx="3598126" cy="2302947"/>
          </a:xfrm>
          <a:prstGeom prst="rect">
            <a:avLst/>
          </a:prstGeom>
          <a:noFill/>
        </p:spPr>
      </p:pic>
      <p:pic>
        <p:nvPicPr>
          <p:cNvPr id="29" name="Picture 2" descr="http://www.siemens.com/press/pool/de/feature/2016/buildingtechnologies/feature-2016-03-light-building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91"/>
          <a:stretch>
            <a:fillRect/>
          </a:stretch>
        </p:blipFill>
        <p:spPr bwMode="auto">
          <a:xfrm>
            <a:off x="626736" y="1413925"/>
            <a:ext cx="3598126" cy="2301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Siemens at the Hannover Messe 2016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99"/>
          <a:stretch/>
        </p:blipFill>
        <p:spPr bwMode="auto">
          <a:xfrm>
            <a:off x="626736" y="3860577"/>
            <a:ext cx="3598126" cy="2303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 bwMode="auto">
          <a:xfrm>
            <a:off x="626736" y="3860576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>
                <a:solidFill>
                  <a:schemeClr val="bg1"/>
                </a:solidFill>
                <a:latin typeface="Arial Bold"/>
              </a:rPr>
              <a:t>SMART EMBEDDED SYSTEMS</a:t>
            </a:r>
            <a:endParaRPr lang="de-DE" sz="1399" dirty="0" err="1">
              <a:solidFill>
                <a:schemeClr val="bg1"/>
              </a:solidFill>
              <a:latin typeface="Arial Bold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4369130" y="1413925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>
                <a:solidFill>
                  <a:schemeClr val="bg1"/>
                </a:solidFill>
                <a:latin typeface="Arial Bold"/>
              </a:rPr>
              <a:t>CLOUD COMPUTING</a:t>
            </a:r>
            <a:endParaRPr lang="de-DE" sz="1399" dirty="0" err="1">
              <a:solidFill>
                <a:schemeClr val="bg1"/>
              </a:solidFill>
              <a:latin typeface="Arial Bold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254091" y="2340079"/>
            <a:ext cx="1314547" cy="44995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2799" b="1">
                <a:solidFill>
                  <a:schemeClr val="bg1"/>
                </a:solidFill>
              </a:rPr>
              <a:t>Picture 4</a:t>
            </a:r>
            <a:endParaRPr lang="de-DE" sz="2799" b="1" dirty="0" err="1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254091" y="4787523"/>
            <a:ext cx="1314547" cy="44995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2799" b="1">
                <a:solidFill>
                  <a:schemeClr val="bg1"/>
                </a:solidFill>
              </a:rPr>
              <a:t>Picture 5</a:t>
            </a:r>
            <a:endParaRPr lang="de-DE" sz="2799" b="1" dirty="0" err="1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626736" y="1413925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>
                <a:solidFill>
                  <a:schemeClr val="bg1"/>
                </a:solidFill>
                <a:latin typeface="Arial Bold"/>
              </a:rPr>
              <a:t>CYBER-PHYSICAL SYSTEMS</a:t>
            </a:r>
            <a:endParaRPr lang="de-DE" sz="13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 cstate="print"/>
          <a:srcRect l="9413" t="6562" r="33374" b="9186"/>
          <a:stretch/>
        </p:blipFill>
        <p:spPr>
          <a:xfrm>
            <a:off x="8111572" y="1413925"/>
            <a:ext cx="3598079" cy="23033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8111524" y="1413925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>
                <a:solidFill>
                  <a:schemeClr val="bg1"/>
                </a:solidFill>
                <a:latin typeface="Arial Bold"/>
              </a:rPr>
              <a:t>MOBILE COMPUTING</a:t>
            </a:r>
            <a:endParaRPr lang="de-DE" sz="1399" dirty="0" err="1">
              <a:solidFill>
                <a:schemeClr val="bg1"/>
              </a:solidFill>
              <a:latin typeface="Arial Bold"/>
            </a:endParaRPr>
          </a:p>
        </p:txBody>
      </p:sp>
      <p:pic>
        <p:nvPicPr>
          <p:cNvPr id="26" name="Grafik 13" descr="Businesswoman sorting her social network_73636732.jpg"/>
          <p:cNvPicPr>
            <a:picLocks noChangeAspect="1"/>
          </p:cNvPicPr>
          <p:nvPr/>
        </p:nvPicPr>
        <p:blipFill>
          <a:blip r:embed="rId9" cstate="print"/>
          <a:srcRect b="31673"/>
          <a:stretch>
            <a:fillRect/>
          </a:stretch>
        </p:blipFill>
        <p:spPr>
          <a:xfrm>
            <a:off x="8111524" y="3863116"/>
            <a:ext cx="3598126" cy="2301309"/>
          </a:xfrm>
          <a:prstGeom prst="rect">
            <a:avLst/>
          </a:prstGeom>
          <a:ln w="3175">
            <a:solidFill>
              <a:srgbClr val="788791"/>
            </a:solidFill>
          </a:ln>
        </p:spPr>
      </p:pic>
      <p:sp>
        <p:nvSpPr>
          <p:cNvPr id="17" name="Rectangle 16"/>
          <p:cNvSpPr/>
          <p:nvPr/>
        </p:nvSpPr>
        <p:spPr bwMode="auto">
          <a:xfrm>
            <a:off x="8111524" y="3860576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>
                <a:solidFill>
                  <a:schemeClr val="bg1"/>
                </a:solidFill>
                <a:latin typeface="Arial Bold"/>
              </a:rPr>
              <a:t>SOCIAL COMPUTING &amp; COLLABORATION</a:t>
            </a:r>
            <a:endParaRPr lang="de-DE" sz="1399" dirty="0" err="1">
              <a:solidFill>
                <a:schemeClr val="bg1"/>
              </a:solidFill>
              <a:latin typeface="Arial Bold"/>
            </a:endParaRPr>
          </a:p>
        </p:txBody>
      </p:sp>
      <p:sp>
        <p:nvSpPr>
          <p:cNvPr id="24578" name="AutoShape 2" descr="Tags cloud cloud computing data Data Security Data Storage google ..."/>
          <p:cNvSpPr>
            <a:spLocks noChangeAspect="1" noChangeArrowheads="1"/>
          </p:cNvSpPr>
          <p:nvPr/>
        </p:nvSpPr>
        <p:spPr bwMode="auto">
          <a:xfrm>
            <a:off x="0" y="-134669"/>
            <a:ext cx="304641" cy="304641"/>
          </a:xfrm>
          <a:prstGeom prst="rect">
            <a:avLst/>
          </a:prstGeom>
          <a:noFill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de-DE" sz="1799"/>
          </a:p>
        </p:txBody>
      </p:sp>
      <p:sp>
        <p:nvSpPr>
          <p:cNvPr id="24580" name="AutoShape 4" descr="Tags cloud cloud computing data Data Security Data Storage google ..."/>
          <p:cNvSpPr>
            <a:spLocks noChangeAspect="1" noChangeArrowheads="1"/>
          </p:cNvSpPr>
          <p:nvPr/>
        </p:nvSpPr>
        <p:spPr bwMode="auto">
          <a:xfrm>
            <a:off x="0" y="-134669"/>
            <a:ext cx="304641" cy="304641"/>
          </a:xfrm>
          <a:prstGeom prst="rect">
            <a:avLst/>
          </a:prstGeom>
          <a:noFill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de-DE" sz="1799"/>
          </a:p>
        </p:txBody>
      </p:sp>
      <p:sp>
        <p:nvSpPr>
          <p:cNvPr id="16" name="Rectangle 15"/>
          <p:cNvSpPr/>
          <p:nvPr/>
        </p:nvSpPr>
        <p:spPr bwMode="auto">
          <a:xfrm>
            <a:off x="4369130" y="3860576"/>
            <a:ext cx="3598126" cy="287850"/>
          </a:xfrm>
          <a:prstGeom prst="rect">
            <a:avLst/>
          </a:prstGeom>
          <a:solidFill>
            <a:srgbClr val="323C46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399" dirty="0" err="1">
                <a:solidFill>
                  <a:schemeClr val="bg1"/>
                </a:solidFill>
                <a:latin typeface="Arial Bold"/>
              </a:rPr>
              <a:t>Artificial</a:t>
            </a:r>
            <a:r>
              <a:rPr lang="de-DE" sz="1399" dirty="0">
                <a:solidFill>
                  <a:schemeClr val="bg1"/>
                </a:solidFill>
                <a:latin typeface="Arial Bold"/>
              </a:rPr>
              <a:t> </a:t>
            </a:r>
            <a:r>
              <a:rPr lang="de-DE" sz="1399" dirty="0" err="1">
                <a:solidFill>
                  <a:schemeClr val="bg1"/>
                </a:solidFill>
                <a:latin typeface="Arial Bold"/>
              </a:rPr>
              <a:t>Intelligence</a:t>
            </a:r>
            <a:endParaRPr lang="de-DE" sz="1399" dirty="0">
              <a:solidFill>
                <a:schemeClr val="bg1"/>
              </a:solidFill>
              <a:latin typeface="Arial Bold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09F19C9-2A93-B34D-9939-1F65A839EEBB}"/>
              </a:ext>
            </a:extLst>
          </p:cNvPr>
          <p:cNvSpPr txBox="1">
            <a:spLocks/>
          </p:cNvSpPr>
          <p:nvPr/>
        </p:nvSpPr>
        <p:spPr>
          <a:xfrm>
            <a:off x="0" y="-153307"/>
            <a:ext cx="12192000" cy="12677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Facets of The Fourth Industrial Revolution</a:t>
            </a:r>
          </a:p>
        </p:txBody>
      </p:sp>
    </p:spTree>
    <p:extLst>
      <p:ext uri="{BB962C8B-B14F-4D97-AF65-F5344CB8AC3E}">
        <p14:creationId xmlns:p14="http://schemas.microsoft.com/office/powerpoint/2010/main" val="16141662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09F19C9-2A93-B34D-9939-1F65A839EEBB}"/>
              </a:ext>
            </a:extLst>
          </p:cNvPr>
          <p:cNvSpPr txBox="1">
            <a:spLocks/>
          </p:cNvSpPr>
          <p:nvPr/>
        </p:nvSpPr>
        <p:spPr>
          <a:xfrm>
            <a:off x="0" y="-409339"/>
            <a:ext cx="12192000" cy="12677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Example 1 – Smart Transportation Systems</a:t>
            </a:r>
          </a:p>
        </p:txBody>
      </p:sp>
      <p:pic>
        <p:nvPicPr>
          <p:cNvPr id="2" name="Online Media 1">
            <a:hlinkClick r:id="" action="ppaction://media"/>
            <a:extLst>
              <a:ext uri="{FF2B5EF4-FFF2-40B4-BE49-F238E27FC236}">
                <a16:creationId xmlns:a16="http://schemas.microsoft.com/office/drawing/2014/main" id="{6DDC6FE6-1AEB-41A1-B593-9F79AB9C98F0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644013" y="625578"/>
            <a:ext cx="10903974" cy="613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2919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306559" y="924560"/>
            <a:ext cx="1341120" cy="88392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216401" y="2214879"/>
            <a:ext cx="6309359" cy="458216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873567" y="1101979"/>
            <a:ext cx="8225790" cy="2139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600" b="1" spc="-30" dirty="0">
                <a:latin typeface="Arial"/>
                <a:cs typeface="Arial"/>
              </a:rPr>
              <a:t>Domain:  </a:t>
            </a:r>
            <a:r>
              <a:rPr sz="1600" spc="-25" dirty="0">
                <a:latin typeface="Arial"/>
                <a:cs typeface="Arial"/>
              </a:rPr>
              <a:t>Cluster </a:t>
            </a:r>
            <a:r>
              <a:rPr sz="1600" spc="-5" dirty="0">
                <a:latin typeface="Arial"/>
                <a:cs typeface="Arial"/>
              </a:rPr>
              <a:t>of </a:t>
            </a:r>
            <a:r>
              <a:rPr sz="1600" spc="-35" dirty="0">
                <a:latin typeface="Arial"/>
                <a:cs typeface="Arial"/>
              </a:rPr>
              <a:t>communicating  </a:t>
            </a:r>
            <a:r>
              <a:rPr sz="1600" spc="-10" dirty="0">
                <a:latin typeface="Arial"/>
                <a:cs typeface="Arial"/>
              </a:rPr>
              <a:t>satellites </a:t>
            </a:r>
            <a:r>
              <a:rPr sz="1600" dirty="0">
                <a:latin typeface="Arial"/>
                <a:cs typeface="Arial"/>
              </a:rPr>
              <a:t>– </a:t>
            </a:r>
            <a:r>
              <a:rPr sz="1600" spc="-30" dirty="0">
                <a:latin typeface="Arial"/>
                <a:cs typeface="Arial"/>
              </a:rPr>
              <a:t>cloud </a:t>
            </a:r>
            <a:r>
              <a:rPr sz="1600" spc="-35" dirty="0">
                <a:latin typeface="Arial"/>
                <a:cs typeface="Arial"/>
              </a:rPr>
              <a:t>computing  </a:t>
            </a:r>
            <a:r>
              <a:rPr sz="1600" spc="-20" dirty="0">
                <a:latin typeface="Arial"/>
                <a:cs typeface="Arial"/>
              </a:rPr>
              <a:t>in</a:t>
            </a:r>
            <a:r>
              <a:rPr sz="1600" spc="16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pace</a:t>
            </a:r>
            <a:endParaRPr sz="1600">
              <a:latin typeface="Arial"/>
              <a:cs typeface="Arial"/>
            </a:endParaRPr>
          </a:p>
          <a:p>
            <a:pPr marL="12700" marR="5080">
              <a:spcBef>
                <a:spcPts val="1445"/>
              </a:spcBef>
            </a:pPr>
            <a:r>
              <a:rPr sz="1600" b="1" spc="-10" dirty="0">
                <a:latin typeface="Arial"/>
                <a:cs typeface="Arial"/>
              </a:rPr>
              <a:t>Objective: </a:t>
            </a:r>
            <a:r>
              <a:rPr sz="1600" spc="-10" dirty="0">
                <a:latin typeface="Arial"/>
                <a:cs typeface="Arial"/>
              </a:rPr>
              <a:t>To </a:t>
            </a:r>
            <a:r>
              <a:rPr sz="1600" spc="-40" dirty="0">
                <a:latin typeface="Arial"/>
                <a:cs typeface="Arial"/>
              </a:rPr>
              <a:t>build </a:t>
            </a:r>
            <a:r>
              <a:rPr sz="1600" dirty="0">
                <a:latin typeface="Arial"/>
                <a:cs typeface="Arial"/>
              </a:rPr>
              <a:t>a </a:t>
            </a:r>
            <a:r>
              <a:rPr sz="1600" spc="-10" dirty="0">
                <a:latin typeface="Arial"/>
                <a:cs typeface="Arial"/>
              </a:rPr>
              <a:t>robust, </a:t>
            </a:r>
            <a:r>
              <a:rPr sz="1600" spc="-20" dirty="0">
                <a:latin typeface="Arial"/>
                <a:cs typeface="Arial"/>
              </a:rPr>
              <a:t>reliable </a:t>
            </a:r>
            <a:r>
              <a:rPr sz="1600" spc="10" dirty="0">
                <a:latin typeface="Arial"/>
                <a:cs typeface="Arial"/>
              </a:rPr>
              <a:t>software </a:t>
            </a:r>
            <a:r>
              <a:rPr sz="1600" spc="-20" dirty="0">
                <a:latin typeface="Arial"/>
                <a:cs typeface="Arial"/>
              </a:rPr>
              <a:t>‘operating </a:t>
            </a:r>
            <a:r>
              <a:rPr sz="1600" spc="-10" dirty="0">
                <a:latin typeface="Arial"/>
                <a:cs typeface="Arial"/>
              </a:rPr>
              <a:t>system’ </a:t>
            </a:r>
            <a:r>
              <a:rPr sz="1600" spc="15" dirty="0">
                <a:latin typeface="Arial"/>
                <a:cs typeface="Arial"/>
              </a:rPr>
              <a:t>to </a:t>
            </a:r>
            <a:r>
              <a:rPr sz="1600" spc="-10" dirty="0">
                <a:latin typeface="Arial"/>
                <a:cs typeface="Arial"/>
              </a:rPr>
              <a:t>be </a:t>
            </a:r>
            <a:r>
              <a:rPr sz="1600" dirty="0">
                <a:latin typeface="Arial"/>
                <a:cs typeface="Arial"/>
              </a:rPr>
              <a:t>a </a:t>
            </a:r>
            <a:r>
              <a:rPr sz="1600" spc="-5" dirty="0">
                <a:latin typeface="Arial"/>
                <a:cs typeface="Arial"/>
              </a:rPr>
              <a:t>wide </a:t>
            </a:r>
            <a:r>
              <a:rPr sz="1600" spc="-15" dirty="0">
                <a:latin typeface="Arial"/>
                <a:cs typeface="Arial"/>
              </a:rPr>
              <a:t>variety </a:t>
            </a:r>
            <a:r>
              <a:rPr sz="1600" spc="-10" dirty="0">
                <a:latin typeface="Arial"/>
                <a:cs typeface="Arial"/>
              </a:rPr>
              <a:t>of  </a:t>
            </a:r>
            <a:r>
              <a:rPr sz="1600" spc="-5" dirty="0">
                <a:latin typeface="Arial"/>
                <a:cs typeface="Arial"/>
              </a:rPr>
              <a:t>networked </a:t>
            </a:r>
            <a:r>
              <a:rPr sz="1600" spc="-20" dirty="0">
                <a:latin typeface="Arial"/>
                <a:cs typeface="Arial"/>
              </a:rPr>
              <a:t>applications  </a:t>
            </a:r>
            <a:r>
              <a:rPr sz="1600" spc="5" dirty="0">
                <a:latin typeface="Arial"/>
                <a:cs typeface="Arial"/>
              </a:rPr>
              <a:t>for </a:t>
            </a:r>
            <a:r>
              <a:rPr sz="1600" spc="-10" dirty="0">
                <a:latin typeface="Arial"/>
                <a:cs typeface="Arial"/>
              </a:rPr>
              <a:t>space-based </a:t>
            </a:r>
            <a:r>
              <a:rPr sz="1600" spc="-35" dirty="0">
                <a:latin typeface="Arial"/>
                <a:cs typeface="Arial"/>
              </a:rPr>
              <a:t>sensing,  </a:t>
            </a:r>
            <a:r>
              <a:rPr sz="1600" spc="-30" dirty="0">
                <a:latin typeface="Arial"/>
                <a:cs typeface="Arial"/>
              </a:rPr>
              <a:t>communication  </a:t>
            </a:r>
            <a:r>
              <a:rPr sz="1600" spc="-10" dirty="0">
                <a:latin typeface="Arial"/>
                <a:cs typeface="Arial"/>
              </a:rPr>
              <a:t>relays, </a:t>
            </a:r>
            <a:r>
              <a:rPr sz="1600" spc="-40" dirty="0">
                <a:latin typeface="Arial"/>
                <a:cs typeface="Arial"/>
              </a:rPr>
              <a:t>and </a:t>
            </a:r>
            <a:r>
              <a:rPr sz="1600" spc="-20" dirty="0">
                <a:latin typeface="Arial"/>
                <a:cs typeface="Arial"/>
              </a:rPr>
              <a:t>other</a:t>
            </a:r>
            <a:r>
              <a:rPr sz="1600" spc="-85" dirty="0">
                <a:latin typeface="Arial"/>
                <a:cs typeface="Arial"/>
              </a:rPr>
              <a:t> </a:t>
            </a:r>
            <a:r>
              <a:rPr sz="1600" spc="-30" dirty="0">
                <a:latin typeface="Arial"/>
                <a:cs typeface="Arial"/>
              </a:rPr>
              <a:t>missions</a:t>
            </a:r>
            <a:endParaRPr sz="1600">
              <a:latin typeface="Arial"/>
              <a:cs typeface="Arial"/>
            </a:endParaRPr>
          </a:p>
          <a:p>
            <a:pPr>
              <a:spcBef>
                <a:spcPts val="40"/>
              </a:spcBef>
            </a:pPr>
            <a:endParaRPr sz="1550">
              <a:latin typeface="Times New Roman"/>
              <a:cs typeface="Times New Roman"/>
            </a:endParaRPr>
          </a:p>
          <a:p>
            <a:pPr marL="12700" marR="6717665">
              <a:spcBef>
                <a:spcPts val="5"/>
              </a:spcBef>
            </a:pPr>
            <a:r>
              <a:rPr sz="1600" b="1" spc="-15" dirty="0">
                <a:latin typeface="Arial"/>
                <a:cs typeface="Arial"/>
              </a:rPr>
              <a:t>Results: </a:t>
            </a:r>
            <a:r>
              <a:rPr sz="1600" spc="-20" dirty="0">
                <a:latin typeface="Arial"/>
                <a:cs typeface="Arial"/>
              </a:rPr>
              <a:t>Design  </a:t>
            </a:r>
            <a:r>
              <a:rPr sz="1600" spc="-35" dirty="0">
                <a:latin typeface="Arial"/>
                <a:cs typeface="Arial"/>
              </a:rPr>
              <a:t>and </a:t>
            </a:r>
            <a:r>
              <a:rPr sz="1600" spc="5" dirty="0">
                <a:latin typeface="Arial"/>
                <a:cs typeface="Arial"/>
              </a:rPr>
              <a:t>prototype  </a:t>
            </a:r>
            <a:r>
              <a:rPr sz="1600" spc="10" dirty="0">
                <a:latin typeface="Arial"/>
                <a:cs typeface="Arial"/>
              </a:rPr>
              <a:t>software  </a:t>
            </a:r>
            <a:r>
              <a:rPr sz="1600" spc="-25" dirty="0">
                <a:latin typeface="Arial"/>
                <a:cs typeface="Arial"/>
              </a:rPr>
              <a:t>implement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09F19C9-2A93-B34D-9939-1F65A839EEBB}"/>
              </a:ext>
            </a:extLst>
          </p:cNvPr>
          <p:cNvSpPr txBox="1">
            <a:spLocks/>
          </p:cNvSpPr>
          <p:nvPr/>
        </p:nvSpPr>
        <p:spPr>
          <a:xfrm>
            <a:off x="0" y="-153307"/>
            <a:ext cx="12192000" cy="12677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Example 2 – Smart and Connected Satellites</a:t>
            </a:r>
          </a:p>
        </p:txBody>
      </p:sp>
    </p:spTree>
    <p:extLst>
      <p:ext uri="{BB962C8B-B14F-4D97-AF65-F5344CB8AC3E}">
        <p14:creationId xmlns:p14="http://schemas.microsoft.com/office/powerpoint/2010/main" val="37559594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996440" y="1092200"/>
            <a:ext cx="4328160" cy="3556000"/>
          </a:xfrm>
          <a:custGeom>
            <a:avLst/>
            <a:gdLst/>
            <a:ahLst/>
            <a:cxnLst/>
            <a:rect l="l" t="t" r="r" b="b"/>
            <a:pathLst>
              <a:path w="4328160" h="3556000">
                <a:moveTo>
                  <a:pt x="0" y="0"/>
                </a:moveTo>
                <a:lnTo>
                  <a:pt x="4003675" y="0"/>
                </a:lnTo>
                <a:lnTo>
                  <a:pt x="4328160" y="1778000"/>
                </a:lnTo>
                <a:lnTo>
                  <a:pt x="4003675" y="3556000"/>
                </a:lnTo>
                <a:lnTo>
                  <a:pt x="0" y="3556000"/>
                </a:lnTo>
                <a:lnTo>
                  <a:pt x="0" y="0"/>
                </a:lnTo>
                <a:close/>
              </a:path>
            </a:pathLst>
          </a:custGeom>
          <a:ln w="10160">
            <a:solidFill>
              <a:srgbClr val="869BA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2277916" y="1732663"/>
            <a:ext cx="3937000" cy="2844800"/>
          </a:xfrm>
          <a:custGeom>
            <a:avLst/>
            <a:gdLst/>
            <a:ahLst/>
            <a:cxnLst/>
            <a:rect l="l" t="t" r="r" b="b"/>
            <a:pathLst>
              <a:path w="3937000" h="2844800">
                <a:moveTo>
                  <a:pt x="2529273" y="2578100"/>
                </a:moveTo>
                <a:lnTo>
                  <a:pt x="1503000" y="2578100"/>
                </a:lnTo>
                <a:lnTo>
                  <a:pt x="1534398" y="2628900"/>
                </a:lnTo>
                <a:lnTo>
                  <a:pt x="1569190" y="2667000"/>
                </a:lnTo>
                <a:lnTo>
                  <a:pt x="1607138" y="2705100"/>
                </a:lnTo>
                <a:lnTo>
                  <a:pt x="1648002" y="2730500"/>
                </a:lnTo>
                <a:lnTo>
                  <a:pt x="1691545" y="2755900"/>
                </a:lnTo>
                <a:lnTo>
                  <a:pt x="1737529" y="2781300"/>
                </a:lnTo>
                <a:lnTo>
                  <a:pt x="1785715" y="2806700"/>
                </a:lnTo>
                <a:lnTo>
                  <a:pt x="1835867" y="2819400"/>
                </a:lnTo>
                <a:lnTo>
                  <a:pt x="1928923" y="2844800"/>
                </a:lnTo>
                <a:lnTo>
                  <a:pt x="2112584" y="2844800"/>
                </a:lnTo>
                <a:lnTo>
                  <a:pt x="2200459" y="2819400"/>
                </a:lnTo>
                <a:lnTo>
                  <a:pt x="2283879" y="2794000"/>
                </a:lnTo>
                <a:lnTo>
                  <a:pt x="2323491" y="2768600"/>
                </a:lnTo>
                <a:lnTo>
                  <a:pt x="2361478" y="2743200"/>
                </a:lnTo>
                <a:lnTo>
                  <a:pt x="2397668" y="2717800"/>
                </a:lnTo>
                <a:lnTo>
                  <a:pt x="2431892" y="2692400"/>
                </a:lnTo>
                <a:lnTo>
                  <a:pt x="2463978" y="2654300"/>
                </a:lnTo>
                <a:lnTo>
                  <a:pt x="2493756" y="2628900"/>
                </a:lnTo>
                <a:lnTo>
                  <a:pt x="2521056" y="2590800"/>
                </a:lnTo>
                <a:lnTo>
                  <a:pt x="2529273" y="2578100"/>
                </a:lnTo>
                <a:close/>
              </a:path>
              <a:path w="3937000" h="2844800">
                <a:moveTo>
                  <a:pt x="1037266" y="254000"/>
                </a:moveTo>
                <a:lnTo>
                  <a:pt x="935299" y="254000"/>
                </a:lnTo>
                <a:lnTo>
                  <a:pt x="884129" y="266700"/>
                </a:lnTo>
                <a:lnTo>
                  <a:pt x="836791" y="266700"/>
                </a:lnTo>
                <a:lnTo>
                  <a:pt x="790939" y="279400"/>
                </a:lnTo>
                <a:lnTo>
                  <a:pt x="746692" y="292100"/>
                </a:lnTo>
                <a:lnTo>
                  <a:pt x="704166" y="317500"/>
                </a:lnTo>
                <a:lnTo>
                  <a:pt x="663477" y="330200"/>
                </a:lnTo>
                <a:lnTo>
                  <a:pt x="624744" y="355600"/>
                </a:lnTo>
                <a:lnTo>
                  <a:pt x="588083" y="381000"/>
                </a:lnTo>
                <a:lnTo>
                  <a:pt x="553611" y="406400"/>
                </a:lnTo>
                <a:lnTo>
                  <a:pt x="521446" y="444500"/>
                </a:lnTo>
                <a:lnTo>
                  <a:pt x="491704" y="482600"/>
                </a:lnTo>
                <a:lnTo>
                  <a:pt x="464502" y="508000"/>
                </a:lnTo>
                <a:lnTo>
                  <a:pt x="439958" y="546100"/>
                </a:lnTo>
                <a:lnTo>
                  <a:pt x="418188" y="584200"/>
                </a:lnTo>
                <a:lnTo>
                  <a:pt x="399310" y="622300"/>
                </a:lnTo>
                <a:lnTo>
                  <a:pt x="383441" y="673100"/>
                </a:lnTo>
                <a:lnTo>
                  <a:pt x="370698" y="711200"/>
                </a:lnTo>
                <a:lnTo>
                  <a:pt x="361198" y="762000"/>
                </a:lnTo>
                <a:lnTo>
                  <a:pt x="355058" y="800100"/>
                </a:lnTo>
                <a:lnTo>
                  <a:pt x="352394" y="850900"/>
                </a:lnTo>
                <a:lnTo>
                  <a:pt x="353325" y="889000"/>
                </a:lnTo>
                <a:lnTo>
                  <a:pt x="357968" y="939800"/>
                </a:lnTo>
                <a:lnTo>
                  <a:pt x="354653" y="952500"/>
                </a:lnTo>
                <a:lnTo>
                  <a:pt x="308359" y="952500"/>
                </a:lnTo>
                <a:lnTo>
                  <a:pt x="263747" y="965200"/>
                </a:lnTo>
                <a:lnTo>
                  <a:pt x="221221" y="990600"/>
                </a:lnTo>
                <a:lnTo>
                  <a:pt x="181184" y="1016000"/>
                </a:lnTo>
                <a:lnTo>
                  <a:pt x="144037" y="1041400"/>
                </a:lnTo>
                <a:lnTo>
                  <a:pt x="110183" y="1066800"/>
                </a:lnTo>
                <a:lnTo>
                  <a:pt x="80026" y="1104900"/>
                </a:lnTo>
                <a:lnTo>
                  <a:pt x="53968" y="1143000"/>
                </a:lnTo>
                <a:lnTo>
                  <a:pt x="31557" y="1181100"/>
                </a:lnTo>
                <a:lnTo>
                  <a:pt x="15181" y="1231900"/>
                </a:lnTo>
                <a:lnTo>
                  <a:pt x="4706" y="1282700"/>
                </a:lnTo>
                <a:lnTo>
                  <a:pt x="0" y="1320800"/>
                </a:lnTo>
                <a:lnTo>
                  <a:pt x="929" y="1371600"/>
                </a:lnTo>
                <a:lnTo>
                  <a:pt x="7363" y="1422400"/>
                </a:lnTo>
                <a:lnTo>
                  <a:pt x="19168" y="1460500"/>
                </a:lnTo>
                <a:lnTo>
                  <a:pt x="36211" y="1498600"/>
                </a:lnTo>
                <a:lnTo>
                  <a:pt x="58361" y="1549400"/>
                </a:lnTo>
                <a:lnTo>
                  <a:pt x="85484" y="1587500"/>
                </a:lnTo>
                <a:lnTo>
                  <a:pt x="117448" y="1612900"/>
                </a:lnTo>
                <a:lnTo>
                  <a:pt x="154121" y="1651000"/>
                </a:lnTo>
                <a:lnTo>
                  <a:pt x="195369" y="1676400"/>
                </a:lnTo>
                <a:lnTo>
                  <a:pt x="163735" y="1714500"/>
                </a:lnTo>
                <a:lnTo>
                  <a:pt x="137377" y="1752600"/>
                </a:lnTo>
                <a:lnTo>
                  <a:pt x="116474" y="1803400"/>
                </a:lnTo>
                <a:lnTo>
                  <a:pt x="101203" y="1841500"/>
                </a:lnTo>
                <a:lnTo>
                  <a:pt x="91743" y="1892300"/>
                </a:lnTo>
                <a:lnTo>
                  <a:pt x="88270" y="1943100"/>
                </a:lnTo>
                <a:lnTo>
                  <a:pt x="90963" y="1993900"/>
                </a:lnTo>
                <a:lnTo>
                  <a:pt x="99837" y="2032000"/>
                </a:lnTo>
                <a:lnTo>
                  <a:pt x="114392" y="2082800"/>
                </a:lnTo>
                <a:lnTo>
                  <a:pt x="134213" y="2120900"/>
                </a:lnTo>
                <a:lnTo>
                  <a:pt x="158889" y="2171700"/>
                </a:lnTo>
                <a:lnTo>
                  <a:pt x="188007" y="2197100"/>
                </a:lnTo>
                <a:lnTo>
                  <a:pt x="221154" y="2235200"/>
                </a:lnTo>
                <a:lnTo>
                  <a:pt x="257918" y="2260600"/>
                </a:lnTo>
                <a:lnTo>
                  <a:pt x="297884" y="2286000"/>
                </a:lnTo>
                <a:lnTo>
                  <a:pt x="340642" y="2311400"/>
                </a:lnTo>
                <a:lnTo>
                  <a:pt x="385777" y="2324100"/>
                </a:lnTo>
                <a:lnTo>
                  <a:pt x="432877" y="2336800"/>
                </a:lnTo>
                <a:lnTo>
                  <a:pt x="536276" y="2336800"/>
                </a:lnTo>
                <a:lnTo>
                  <a:pt x="538816" y="2349500"/>
                </a:lnTo>
                <a:lnTo>
                  <a:pt x="564986" y="2387600"/>
                </a:lnTo>
                <a:lnTo>
                  <a:pt x="593427" y="2425700"/>
                </a:lnTo>
                <a:lnTo>
                  <a:pt x="623996" y="2451100"/>
                </a:lnTo>
                <a:lnTo>
                  <a:pt x="656548" y="2489200"/>
                </a:lnTo>
                <a:lnTo>
                  <a:pt x="690939" y="2514600"/>
                </a:lnTo>
                <a:lnTo>
                  <a:pt x="727028" y="2552700"/>
                </a:lnTo>
                <a:lnTo>
                  <a:pt x="764669" y="2578100"/>
                </a:lnTo>
                <a:lnTo>
                  <a:pt x="803719" y="2590800"/>
                </a:lnTo>
                <a:lnTo>
                  <a:pt x="844035" y="2616200"/>
                </a:lnTo>
                <a:lnTo>
                  <a:pt x="885472" y="2628900"/>
                </a:lnTo>
                <a:lnTo>
                  <a:pt x="927888" y="2654300"/>
                </a:lnTo>
                <a:lnTo>
                  <a:pt x="971139" y="2654300"/>
                </a:lnTo>
                <a:lnTo>
                  <a:pt x="1059571" y="2679700"/>
                </a:lnTo>
                <a:lnTo>
                  <a:pt x="1240135" y="2679700"/>
                </a:lnTo>
                <a:lnTo>
                  <a:pt x="1417974" y="2628900"/>
                </a:lnTo>
                <a:lnTo>
                  <a:pt x="1460931" y="2603500"/>
                </a:lnTo>
                <a:lnTo>
                  <a:pt x="1503000" y="2578100"/>
                </a:lnTo>
                <a:lnTo>
                  <a:pt x="2529273" y="2578100"/>
                </a:lnTo>
                <a:lnTo>
                  <a:pt x="2545706" y="2552700"/>
                </a:lnTo>
                <a:lnTo>
                  <a:pt x="2567537" y="2501900"/>
                </a:lnTo>
                <a:lnTo>
                  <a:pt x="2586378" y="2463800"/>
                </a:lnTo>
                <a:lnTo>
                  <a:pt x="2602058" y="2425700"/>
                </a:lnTo>
                <a:lnTo>
                  <a:pt x="3142979" y="2425700"/>
                </a:lnTo>
                <a:lnTo>
                  <a:pt x="3181079" y="2400300"/>
                </a:lnTo>
                <a:lnTo>
                  <a:pt x="3216883" y="2374900"/>
                </a:lnTo>
                <a:lnTo>
                  <a:pt x="3250202" y="2349500"/>
                </a:lnTo>
                <a:lnTo>
                  <a:pt x="3280850" y="2311400"/>
                </a:lnTo>
                <a:lnTo>
                  <a:pt x="3308638" y="2286000"/>
                </a:lnTo>
                <a:lnTo>
                  <a:pt x="3333380" y="2247900"/>
                </a:lnTo>
                <a:lnTo>
                  <a:pt x="3354888" y="2209800"/>
                </a:lnTo>
                <a:lnTo>
                  <a:pt x="3372975" y="2159000"/>
                </a:lnTo>
                <a:lnTo>
                  <a:pt x="3387454" y="2120900"/>
                </a:lnTo>
                <a:lnTo>
                  <a:pt x="3398136" y="2082800"/>
                </a:lnTo>
                <a:lnTo>
                  <a:pt x="3404836" y="2032000"/>
                </a:lnTo>
                <a:lnTo>
                  <a:pt x="3407365" y="1981200"/>
                </a:lnTo>
                <a:lnTo>
                  <a:pt x="3459359" y="1981200"/>
                </a:lnTo>
                <a:lnTo>
                  <a:pt x="3510136" y="1955800"/>
                </a:lnTo>
                <a:lnTo>
                  <a:pt x="3559431" y="1943100"/>
                </a:lnTo>
                <a:lnTo>
                  <a:pt x="3606980" y="1917700"/>
                </a:lnTo>
                <a:lnTo>
                  <a:pt x="3652519" y="1892300"/>
                </a:lnTo>
                <a:lnTo>
                  <a:pt x="3695782" y="1866900"/>
                </a:lnTo>
                <a:lnTo>
                  <a:pt x="3732858" y="1828800"/>
                </a:lnTo>
                <a:lnTo>
                  <a:pt x="3766927" y="1803400"/>
                </a:lnTo>
                <a:lnTo>
                  <a:pt x="3797963" y="1765300"/>
                </a:lnTo>
                <a:lnTo>
                  <a:pt x="3825940" y="1727200"/>
                </a:lnTo>
                <a:lnTo>
                  <a:pt x="3850835" y="1689100"/>
                </a:lnTo>
                <a:lnTo>
                  <a:pt x="3872620" y="1651000"/>
                </a:lnTo>
                <a:lnTo>
                  <a:pt x="3891272" y="1612900"/>
                </a:lnTo>
                <a:lnTo>
                  <a:pt x="3906765" y="1574800"/>
                </a:lnTo>
                <a:lnTo>
                  <a:pt x="3919073" y="1524000"/>
                </a:lnTo>
                <a:lnTo>
                  <a:pt x="3928172" y="1485900"/>
                </a:lnTo>
                <a:lnTo>
                  <a:pt x="3934035" y="1435100"/>
                </a:lnTo>
                <a:lnTo>
                  <a:pt x="3936639" y="1397000"/>
                </a:lnTo>
                <a:lnTo>
                  <a:pt x="3935957" y="1346200"/>
                </a:lnTo>
                <a:lnTo>
                  <a:pt x="3931964" y="1308100"/>
                </a:lnTo>
                <a:lnTo>
                  <a:pt x="3924635" y="1257300"/>
                </a:lnTo>
                <a:lnTo>
                  <a:pt x="3913945" y="1219200"/>
                </a:lnTo>
                <a:lnTo>
                  <a:pt x="3899869" y="1181100"/>
                </a:lnTo>
                <a:lnTo>
                  <a:pt x="3882380" y="1130300"/>
                </a:lnTo>
                <a:lnTo>
                  <a:pt x="3861455" y="1092200"/>
                </a:lnTo>
                <a:lnTo>
                  <a:pt x="3837068" y="1054100"/>
                </a:lnTo>
                <a:lnTo>
                  <a:pt x="3809193" y="1016000"/>
                </a:lnTo>
                <a:lnTo>
                  <a:pt x="3815576" y="1003300"/>
                </a:lnTo>
                <a:lnTo>
                  <a:pt x="3821400" y="977900"/>
                </a:lnTo>
                <a:lnTo>
                  <a:pt x="3826677" y="965200"/>
                </a:lnTo>
                <a:lnTo>
                  <a:pt x="3831418" y="952500"/>
                </a:lnTo>
                <a:lnTo>
                  <a:pt x="3842026" y="901700"/>
                </a:lnTo>
                <a:lnTo>
                  <a:pt x="3847582" y="850900"/>
                </a:lnTo>
                <a:lnTo>
                  <a:pt x="3848256" y="812800"/>
                </a:lnTo>
                <a:lnTo>
                  <a:pt x="3844219" y="762000"/>
                </a:lnTo>
                <a:lnTo>
                  <a:pt x="3835642" y="711200"/>
                </a:lnTo>
                <a:lnTo>
                  <a:pt x="3822695" y="673100"/>
                </a:lnTo>
                <a:lnTo>
                  <a:pt x="3805551" y="622300"/>
                </a:lnTo>
                <a:lnTo>
                  <a:pt x="3784380" y="584200"/>
                </a:lnTo>
                <a:lnTo>
                  <a:pt x="3759352" y="546100"/>
                </a:lnTo>
                <a:lnTo>
                  <a:pt x="3730640" y="508000"/>
                </a:lnTo>
                <a:lnTo>
                  <a:pt x="3698413" y="482600"/>
                </a:lnTo>
                <a:lnTo>
                  <a:pt x="3662843" y="444500"/>
                </a:lnTo>
                <a:lnTo>
                  <a:pt x="3624101" y="419100"/>
                </a:lnTo>
                <a:lnTo>
                  <a:pt x="3582357" y="393700"/>
                </a:lnTo>
                <a:lnTo>
                  <a:pt x="3537783" y="381000"/>
                </a:lnTo>
                <a:lnTo>
                  <a:pt x="3490550" y="368300"/>
                </a:lnTo>
                <a:lnTo>
                  <a:pt x="3484591" y="342900"/>
                </a:lnTo>
                <a:lnTo>
                  <a:pt x="1277702" y="342900"/>
                </a:lnTo>
                <a:lnTo>
                  <a:pt x="1232323" y="317500"/>
                </a:lnTo>
                <a:lnTo>
                  <a:pt x="1185327" y="292100"/>
                </a:lnTo>
                <a:lnTo>
                  <a:pt x="1037266" y="254000"/>
                </a:lnTo>
                <a:close/>
              </a:path>
              <a:path w="3937000" h="2844800">
                <a:moveTo>
                  <a:pt x="3142979" y="2425700"/>
                </a:moveTo>
                <a:lnTo>
                  <a:pt x="2602058" y="2425700"/>
                </a:lnTo>
                <a:lnTo>
                  <a:pt x="2644269" y="2438400"/>
                </a:lnTo>
                <a:lnTo>
                  <a:pt x="2688286" y="2463800"/>
                </a:lnTo>
                <a:lnTo>
                  <a:pt x="2733820" y="2476500"/>
                </a:lnTo>
                <a:lnTo>
                  <a:pt x="2828282" y="2501900"/>
                </a:lnTo>
                <a:lnTo>
                  <a:pt x="2924579" y="2501900"/>
                </a:lnTo>
                <a:lnTo>
                  <a:pt x="3016769" y="2476500"/>
                </a:lnTo>
                <a:lnTo>
                  <a:pt x="3060636" y="2463800"/>
                </a:lnTo>
                <a:lnTo>
                  <a:pt x="3102769" y="2451100"/>
                </a:lnTo>
                <a:lnTo>
                  <a:pt x="3142979" y="2425700"/>
                </a:lnTo>
                <a:close/>
              </a:path>
              <a:path w="3937000" h="2844800">
                <a:moveTo>
                  <a:pt x="1804610" y="88900"/>
                </a:moveTo>
                <a:lnTo>
                  <a:pt x="1628269" y="88900"/>
                </a:lnTo>
                <a:lnTo>
                  <a:pt x="1585344" y="101600"/>
                </a:lnTo>
                <a:lnTo>
                  <a:pt x="1502815" y="127000"/>
                </a:lnTo>
                <a:lnTo>
                  <a:pt x="1463760" y="152400"/>
                </a:lnTo>
                <a:lnTo>
                  <a:pt x="1426545" y="177800"/>
                </a:lnTo>
                <a:lnTo>
                  <a:pt x="1391445" y="203200"/>
                </a:lnTo>
                <a:lnTo>
                  <a:pt x="1358736" y="228600"/>
                </a:lnTo>
                <a:lnTo>
                  <a:pt x="1328692" y="266700"/>
                </a:lnTo>
                <a:lnTo>
                  <a:pt x="1301589" y="304800"/>
                </a:lnTo>
                <a:lnTo>
                  <a:pt x="1277702" y="342900"/>
                </a:lnTo>
                <a:lnTo>
                  <a:pt x="3484591" y="342900"/>
                </a:lnTo>
                <a:lnTo>
                  <a:pt x="3478632" y="317500"/>
                </a:lnTo>
                <a:lnTo>
                  <a:pt x="3461203" y="266700"/>
                </a:lnTo>
                <a:lnTo>
                  <a:pt x="3438511" y="228600"/>
                </a:lnTo>
                <a:lnTo>
                  <a:pt x="3431584" y="215900"/>
                </a:lnTo>
                <a:lnTo>
                  <a:pt x="2046814" y="215900"/>
                </a:lnTo>
                <a:lnTo>
                  <a:pt x="2020923" y="203200"/>
                </a:lnTo>
                <a:lnTo>
                  <a:pt x="1993426" y="177800"/>
                </a:lnTo>
                <a:lnTo>
                  <a:pt x="1964428" y="152400"/>
                </a:lnTo>
                <a:lnTo>
                  <a:pt x="1934038" y="139700"/>
                </a:lnTo>
                <a:lnTo>
                  <a:pt x="1891715" y="114300"/>
                </a:lnTo>
                <a:lnTo>
                  <a:pt x="1804610" y="88900"/>
                </a:lnTo>
                <a:close/>
              </a:path>
              <a:path w="3937000" h="2844800">
                <a:moveTo>
                  <a:pt x="2493510" y="12700"/>
                </a:moveTo>
                <a:lnTo>
                  <a:pt x="2318408" y="12700"/>
                </a:lnTo>
                <a:lnTo>
                  <a:pt x="2276398" y="25400"/>
                </a:lnTo>
                <a:lnTo>
                  <a:pt x="2235892" y="38100"/>
                </a:lnTo>
                <a:lnTo>
                  <a:pt x="2197290" y="63500"/>
                </a:lnTo>
                <a:lnTo>
                  <a:pt x="2160991" y="88900"/>
                </a:lnTo>
                <a:lnTo>
                  <a:pt x="2127394" y="114300"/>
                </a:lnTo>
                <a:lnTo>
                  <a:pt x="2096900" y="152400"/>
                </a:lnTo>
                <a:lnTo>
                  <a:pt x="2069906" y="177800"/>
                </a:lnTo>
                <a:lnTo>
                  <a:pt x="2046814" y="215900"/>
                </a:lnTo>
                <a:lnTo>
                  <a:pt x="3431584" y="215900"/>
                </a:lnTo>
                <a:lnTo>
                  <a:pt x="3410803" y="177800"/>
                </a:lnTo>
                <a:lnTo>
                  <a:pt x="3399977" y="165100"/>
                </a:lnTo>
                <a:lnTo>
                  <a:pt x="2718263" y="165100"/>
                </a:lnTo>
                <a:lnTo>
                  <a:pt x="2688719" y="127000"/>
                </a:lnTo>
                <a:lnTo>
                  <a:pt x="2655556" y="88900"/>
                </a:lnTo>
                <a:lnTo>
                  <a:pt x="2619107" y="63500"/>
                </a:lnTo>
                <a:lnTo>
                  <a:pt x="2579706" y="50800"/>
                </a:lnTo>
                <a:lnTo>
                  <a:pt x="2537053" y="25400"/>
                </a:lnTo>
                <a:lnTo>
                  <a:pt x="2493510" y="12700"/>
                </a:lnTo>
                <a:close/>
              </a:path>
              <a:path w="3937000" h="2844800">
                <a:moveTo>
                  <a:pt x="3132123" y="12700"/>
                </a:moveTo>
                <a:lnTo>
                  <a:pt x="2952156" y="12700"/>
                </a:lnTo>
                <a:lnTo>
                  <a:pt x="2908584" y="25400"/>
                </a:lnTo>
                <a:lnTo>
                  <a:pt x="2866340" y="50800"/>
                </a:lnTo>
                <a:lnTo>
                  <a:pt x="2825806" y="63500"/>
                </a:lnTo>
                <a:lnTo>
                  <a:pt x="2787361" y="88900"/>
                </a:lnTo>
                <a:lnTo>
                  <a:pt x="2751387" y="127000"/>
                </a:lnTo>
                <a:lnTo>
                  <a:pt x="2718263" y="165100"/>
                </a:lnTo>
                <a:lnTo>
                  <a:pt x="3399977" y="165100"/>
                </a:lnTo>
                <a:lnTo>
                  <a:pt x="3378325" y="139700"/>
                </a:lnTo>
                <a:lnTo>
                  <a:pt x="3341325" y="114300"/>
                </a:lnTo>
                <a:lnTo>
                  <a:pt x="3302914" y="76200"/>
                </a:lnTo>
                <a:lnTo>
                  <a:pt x="3262408" y="50800"/>
                </a:lnTo>
                <a:lnTo>
                  <a:pt x="3176632" y="25400"/>
                </a:lnTo>
                <a:lnTo>
                  <a:pt x="3132123" y="12700"/>
                </a:lnTo>
                <a:close/>
              </a:path>
              <a:path w="3937000" h="2844800">
                <a:moveTo>
                  <a:pt x="2405346" y="0"/>
                </a:moveTo>
                <a:lnTo>
                  <a:pt x="2361524" y="12700"/>
                </a:lnTo>
                <a:lnTo>
                  <a:pt x="2449474" y="12700"/>
                </a:lnTo>
                <a:lnTo>
                  <a:pt x="2405346" y="0"/>
                </a:lnTo>
                <a:close/>
              </a:path>
              <a:path w="3937000" h="2844800">
                <a:moveTo>
                  <a:pt x="3041764" y="0"/>
                </a:moveTo>
                <a:lnTo>
                  <a:pt x="2996676" y="12700"/>
                </a:lnTo>
                <a:lnTo>
                  <a:pt x="3087040" y="12700"/>
                </a:lnTo>
                <a:lnTo>
                  <a:pt x="304176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277916" y="1731294"/>
            <a:ext cx="3937000" cy="2846705"/>
          </a:xfrm>
          <a:custGeom>
            <a:avLst/>
            <a:gdLst/>
            <a:ahLst/>
            <a:cxnLst/>
            <a:rect l="l" t="t" r="r" b="b"/>
            <a:pathLst>
              <a:path w="3937000" h="2846704">
                <a:moveTo>
                  <a:pt x="357968" y="937103"/>
                </a:moveTo>
                <a:lnTo>
                  <a:pt x="353325" y="889991"/>
                </a:lnTo>
                <a:lnTo>
                  <a:pt x="352394" y="843387"/>
                </a:lnTo>
                <a:lnTo>
                  <a:pt x="355058" y="797444"/>
                </a:lnTo>
                <a:lnTo>
                  <a:pt x="361198" y="752312"/>
                </a:lnTo>
                <a:lnTo>
                  <a:pt x="370698" y="708144"/>
                </a:lnTo>
                <a:lnTo>
                  <a:pt x="383441" y="665089"/>
                </a:lnTo>
                <a:lnTo>
                  <a:pt x="399310" y="623300"/>
                </a:lnTo>
                <a:lnTo>
                  <a:pt x="418188" y="582928"/>
                </a:lnTo>
                <a:lnTo>
                  <a:pt x="439958" y="544125"/>
                </a:lnTo>
                <a:lnTo>
                  <a:pt x="464502" y="507040"/>
                </a:lnTo>
                <a:lnTo>
                  <a:pt x="491704" y="471827"/>
                </a:lnTo>
                <a:lnTo>
                  <a:pt x="521446" y="438635"/>
                </a:lnTo>
                <a:lnTo>
                  <a:pt x="553611" y="407617"/>
                </a:lnTo>
                <a:lnTo>
                  <a:pt x="588083" y="378924"/>
                </a:lnTo>
                <a:lnTo>
                  <a:pt x="624744" y="352707"/>
                </a:lnTo>
                <a:lnTo>
                  <a:pt x="663477" y="329117"/>
                </a:lnTo>
                <a:lnTo>
                  <a:pt x="704166" y="308306"/>
                </a:lnTo>
                <a:lnTo>
                  <a:pt x="746692" y="290425"/>
                </a:lnTo>
                <a:lnTo>
                  <a:pt x="790939" y="275625"/>
                </a:lnTo>
                <a:lnTo>
                  <a:pt x="836791" y="264058"/>
                </a:lnTo>
                <a:lnTo>
                  <a:pt x="884129" y="255875"/>
                </a:lnTo>
                <a:lnTo>
                  <a:pt x="935299" y="251146"/>
                </a:lnTo>
                <a:lnTo>
                  <a:pt x="986433" y="250638"/>
                </a:lnTo>
                <a:lnTo>
                  <a:pt x="1037266" y="254301"/>
                </a:lnTo>
                <a:lnTo>
                  <a:pt x="1087535" y="262082"/>
                </a:lnTo>
                <a:lnTo>
                  <a:pt x="1136976" y="273929"/>
                </a:lnTo>
                <a:lnTo>
                  <a:pt x="1185327" y="289790"/>
                </a:lnTo>
                <a:lnTo>
                  <a:pt x="1232323" y="309613"/>
                </a:lnTo>
                <a:lnTo>
                  <a:pt x="1277702" y="333345"/>
                </a:lnTo>
                <a:lnTo>
                  <a:pt x="1301589" y="293689"/>
                </a:lnTo>
                <a:lnTo>
                  <a:pt x="1328692" y="257117"/>
                </a:lnTo>
                <a:lnTo>
                  <a:pt x="1358736" y="223711"/>
                </a:lnTo>
                <a:lnTo>
                  <a:pt x="1391445" y="193556"/>
                </a:lnTo>
                <a:lnTo>
                  <a:pt x="1426545" y="166735"/>
                </a:lnTo>
                <a:lnTo>
                  <a:pt x="1463760" y="143331"/>
                </a:lnTo>
                <a:lnTo>
                  <a:pt x="1502815" y="123427"/>
                </a:lnTo>
                <a:lnTo>
                  <a:pt x="1543434" y="107106"/>
                </a:lnTo>
                <a:lnTo>
                  <a:pt x="1585344" y="94453"/>
                </a:lnTo>
                <a:lnTo>
                  <a:pt x="1628269" y="85549"/>
                </a:lnTo>
                <a:lnTo>
                  <a:pt x="1671933" y="80479"/>
                </a:lnTo>
                <a:lnTo>
                  <a:pt x="1716061" y="79326"/>
                </a:lnTo>
                <a:lnTo>
                  <a:pt x="1760378" y="82173"/>
                </a:lnTo>
                <a:lnTo>
                  <a:pt x="1804610" y="89103"/>
                </a:lnTo>
                <a:lnTo>
                  <a:pt x="1848480" y="100199"/>
                </a:lnTo>
                <a:lnTo>
                  <a:pt x="1891715" y="115546"/>
                </a:lnTo>
                <a:lnTo>
                  <a:pt x="1934038" y="135225"/>
                </a:lnTo>
                <a:lnTo>
                  <a:pt x="1993426" y="172008"/>
                </a:lnTo>
                <a:lnTo>
                  <a:pt x="2046814" y="216886"/>
                </a:lnTo>
                <a:lnTo>
                  <a:pt x="2069906" y="177193"/>
                </a:lnTo>
                <a:lnTo>
                  <a:pt x="2096900" y="141149"/>
                </a:lnTo>
                <a:lnTo>
                  <a:pt x="2127394" y="108888"/>
                </a:lnTo>
                <a:lnTo>
                  <a:pt x="2160991" y="80539"/>
                </a:lnTo>
                <a:lnTo>
                  <a:pt x="2197290" y="56236"/>
                </a:lnTo>
                <a:lnTo>
                  <a:pt x="2235892" y="36109"/>
                </a:lnTo>
                <a:lnTo>
                  <a:pt x="2276398" y="20290"/>
                </a:lnTo>
                <a:lnTo>
                  <a:pt x="2318408" y="8911"/>
                </a:lnTo>
                <a:lnTo>
                  <a:pt x="2361524" y="2104"/>
                </a:lnTo>
                <a:lnTo>
                  <a:pt x="2405346" y="0"/>
                </a:lnTo>
                <a:lnTo>
                  <a:pt x="2449474" y="2730"/>
                </a:lnTo>
                <a:lnTo>
                  <a:pt x="2493510" y="10426"/>
                </a:lnTo>
                <a:lnTo>
                  <a:pt x="2537053" y="23221"/>
                </a:lnTo>
                <a:lnTo>
                  <a:pt x="2579706" y="41245"/>
                </a:lnTo>
                <a:lnTo>
                  <a:pt x="2619107" y="63458"/>
                </a:lnTo>
                <a:lnTo>
                  <a:pt x="2655556" y="89886"/>
                </a:lnTo>
                <a:lnTo>
                  <a:pt x="2688719" y="120219"/>
                </a:lnTo>
                <a:lnTo>
                  <a:pt x="2718263" y="154148"/>
                </a:lnTo>
                <a:lnTo>
                  <a:pt x="2751387" y="119714"/>
                </a:lnTo>
                <a:lnTo>
                  <a:pt x="2787361" y="89585"/>
                </a:lnTo>
                <a:lnTo>
                  <a:pt x="2825806" y="63792"/>
                </a:lnTo>
                <a:lnTo>
                  <a:pt x="2866340" y="42366"/>
                </a:lnTo>
                <a:lnTo>
                  <a:pt x="2908584" y="25337"/>
                </a:lnTo>
                <a:lnTo>
                  <a:pt x="2952156" y="12737"/>
                </a:lnTo>
                <a:lnTo>
                  <a:pt x="2996676" y="4597"/>
                </a:lnTo>
                <a:lnTo>
                  <a:pt x="3041764" y="947"/>
                </a:lnTo>
                <a:lnTo>
                  <a:pt x="3087040" y="1818"/>
                </a:lnTo>
                <a:lnTo>
                  <a:pt x="3132123" y="7242"/>
                </a:lnTo>
                <a:lnTo>
                  <a:pt x="3176632" y="17249"/>
                </a:lnTo>
                <a:lnTo>
                  <a:pt x="3220187" y="31871"/>
                </a:lnTo>
                <a:lnTo>
                  <a:pt x="3262408" y="51137"/>
                </a:lnTo>
                <a:lnTo>
                  <a:pt x="3302914" y="75080"/>
                </a:lnTo>
                <a:lnTo>
                  <a:pt x="3341325" y="103729"/>
                </a:lnTo>
                <a:lnTo>
                  <a:pt x="3378325" y="138297"/>
                </a:lnTo>
                <a:lnTo>
                  <a:pt x="3410803" y="176561"/>
                </a:lnTo>
                <a:lnTo>
                  <a:pt x="3438511" y="218093"/>
                </a:lnTo>
                <a:lnTo>
                  <a:pt x="3461203" y="262460"/>
                </a:lnTo>
                <a:lnTo>
                  <a:pt x="3478632" y="309234"/>
                </a:lnTo>
                <a:lnTo>
                  <a:pt x="3490550" y="357983"/>
                </a:lnTo>
                <a:lnTo>
                  <a:pt x="3537783" y="373231"/>
                </a:lnTo>
                <a:lnTo>
                  <a:pt x="3582357" y="392724"/>
                </a:lnTo>
                <a:lnTo>
                  <a:pt x="3624101" y="416169"/>
                </a:lnTo>
                <a:lnTo>
                  <a:pt x="3662843" y="443270"/>
                </a:lnTo>
                <a:lnTo>
                  <a:pt x="3698413" y="473730"/>
                </a:lnTo>
                <a:lnTo>
                  <a:pt x="3730640" y="507254"/>
                </a:lnTo>
                <a:lnTo>
                  <a:pt x="3759352" y="543547"/>
                </a:lnTo>
                <a:lnTo>
                  <a:pt x="3784380" y="582313"/>
                </a:lnTo>
                <a:lnTo>
                  <a:pt x="3805551" y="623256"/>
                </a:lnTo>
                <a:lnTo>
                  <a:pt x="3822695" y="666081"/>
                </a:lnTo>
                <a:lnTo>
                  <a:pt x="3835642" y="710492"/>
                </a:lnTo>
                <a:lnTo>
                  <a:pt x="3844219" y="756194"/>
                </a:lnTo>
                <a:lnTo>
                  <a:pt x="3848256" y="802890"/>
                </a:lnTo>
                <a:lnTo>
                  <a:pt x="3847582" y="850286"/>
                </a:lnTo>
                <a:lnTo>
                  <a:pt x="3842026" y="898086"/>
                </a:lnTo>
                <a:lnTo>
                  <a:pt x="3831418" y="945993"/>
                </a:lnTo>
                <a:lnTo>
                  <a:pt x="3815576" y="993428"/>
                </a:lnTo>
                <a:lnTo>
                  <a:pt x="3809193" y="1008858"/>
                </a:lnTo>
                <a:lnTo>
                  <a:pt x="3837068" y="1047601"/>
                </a:lnTo>
                <a:lnTo>
                  <a:pt x="3861455" y="1087723"/>
                </a:lnTo>
                <a:lnTo>
                  <a:pt x="3882380" y="1129033"/>
                </a:lnTo>
                <a:lnTo>
                  <a:pt x="3899869" y="1171343"/>
                </a:lnTo>
                <a:lnTo>
                  <a:pt x="3913945" y="1214463"/>
                </a:lnTo>
                <a:lnTo>
                  <a:pt x="3924635" y="1258205"/>
                </a:lnTo>
                <a:lnTo>
                  <a:pt x="3931964" y="1302379"/>
                </a:lnTo>
                <a:lnTo>
                  <a:pt x="3935957" y="1346796"/>
                </a:lnTo>
                <a:lnTo>
                  <a:pt x="3936639" y="1391267"/>
                </a:lnTo>
                <a:lnTo>
                  <a:pt x="3934035" y="1435602"/>
                </a:lnTo>
                <a:lnTo>
                  <a:pt x="3928172" y="1479614"/>
                </a:lnTo>
                <a:lnTo>
                  <a:pt x="3919073" y="1523111"/>
                </a:lnTo>
                <a:lnTo>
                  <a:pt x="3906765" y="1565906"/>
                </a:lnTo>
                <a:lnTo>
                  <a:pt x="3891272" y="1607809"/>
                </a:lnTo>
                <a:lnTo>
                  <a:pt x="3872620" y="1648631"/>
                </a:lnTo>
                <a:lnTo>
                  <a:pt x="3850835" y="1688183"/>
                </a:lnTo>
                <a:lnTo>
                  <a:pt x="3825940" y="1726275"/>
                </a:lnTo>
                <a:lnTo>
                  <a:pt x="3797963" y="1762718"/>
                </a:lnTo>
                <a:lnTo>
                  <a:pt x="3766927" y="1797324"/>
                </a:lnTo>
                <a:lnTo>
                  <a:pt x="3732858" y="1829903"/>
                </a:lnTo>
                <a:lnTo>
                  <a:pt x="3695782" y="1860266"/>
                </a:lnTo>
                <a:lnTo>
                  <a:pt x="3652519" y="1890135"/>
                </a:lnTo>
                <a:lnTo>
                  <a:pt x="3606980" y="1916170"/>
                </a:lnTo>
                <a:lnTo>
                  <a:pt x="3559431" y="1938260"/>
                </a:lnTo>
                <a:lnTo>
                  <a:pt x="3510136" y="1956297"/>
                </a:lnTo>
                <a:lnTo>
                  <a:pt x="3459359" y="1970171"/>
                </a:lnTo>
                <a:lnTo>
                  <a:pt x="3407365" y="1979773"/>
                </a:lnTo>
                <a:lnTo>
                  <a:pt x="3404836" y="2026912"/>
                </a:lnTo>
                <a:lnTo>
                  <a:pt x="3398136" y="2072830"/>
                </a:lnTo>
                <a:lnTo>
                  <a:pt x="3387454" y="2117345"/>
                </a:lnTo>
                <a:lnTo>
                  <a:pt x="3372975" y="2160278"/>
                </a:lnTo>
                <a:lnTo>
                  <a:pt x="3354888" y="2201446"/>
                </a:lnTo>
                <a:lnTo>
                  <a:pt x="3333380" y="2240669"/>
                </a:lnTo>
                <a:lnTo>
                  <a:pt x="3308638" y="2277765"/>
                </a:lnTo>
                <a:lnTo>
                  <a:pt x="3280850" y="2312552"/>
                </a:lnTo>
                <a:lnTo>
                  <a:pt x="3250202" y="2344851"/>
                </a:lnTo>
                <a:lnTo>
                  <a:pt x="3216883" y="2374478"/>
                </a:lnTo>
                <a:lnTo>
                  <a:pt x="3181079" y="2401255"/>
                </a:lnTo>
                <a:lnTo>
                  <a:pt x="3142979" y="2424998"/>
                </a:lnTo>
                <a:lnTo>
                  <a:pt x="3102769" y="2445527"/>
                </a:lnTo>
                <a:lnTo>
                  <a:pt x="3060636" y="2462660"/>
                </a:lnTo>
                <a:lnTo>
                  <a:pt x="3016769" y="2476217"/>
                </a:lnTo>
                <a:lnTo>
                  <a:pt x="2971354" y="2486016"/>
                </a:lnTo>
                <a:lnTo>
                  <a:pt x="2924579" y="2491876"/>
                </a:lnTo>
                <a:lnTo>
                  <a:pt x="2876632" y="2493615"/>
                </a:lnTo>
                <a:lnTo>
                  <a:pt x="2828282" y="2491046"/>
                </a:lnTo>
                <a:lnTo>
                  <a:pt x="2780582" y="2484156"/>
                </a:lnTo>
                <a:lnTo>
                  <a:pt x="2733820" y="2473025"/>
                </a:lnTo>
                <a:lnTo>
                  <a:pt x="2688286" y="2457735"/>
                </a:lnTo>
                <a:lnTo>
                  <a:pt x="2644269" y="2438367"/>
                </a:lnTo>
                <a:lnTo>
                  <a:pt x="2602058" y="2415002"/>
                </a:lnTo>
                <a:lnTo>
                  <a:pt x="2586378" y="2459867"/>
                </a:lnTo>
                <a:lnTo>
                  <a:pt x="2567537" y="2502745"/>
                </a:lnTo>
                <a:lnTo>
                  <a:pt x="2545706" y="2543546"/>
                </a:lnTo>
                <a:lnTo>
                  <a:pt x="2521056" y="2582179"/>
                </a:lnTo>
                <a:lnTo>
                  <a:pt x="2493756" y="2618554"/>
                </a:lnTo>
                <a:lnTo>
                  <a:pt x="2463978" y="2652582"/>
                </a:lnTo>
                <a:lnTo>
                  <a:pt x="2431892" y="2684172"/>
                </a:lnTo>
                <a:lnTo>
                  <a:pt x="2397668" y="2713234"/>
                </a:lnTo>
                <a:lnTo>
                  <a:pt x="2361478" y="2739678"/>
                </a:lnTo>
                <a:lnTo>
                  <a:pt x="2323491" y="2763413"/>
                </a:lnTo>
                <a:lnTo>
                  <a:pt x="2283879" y="2784351"/>
                </a:lnTo>
                <a:lnTo>
                  <a:pt x="2242811" y="2802400"/>
                </a:lnTo>
                <a:lnTo>
                  <a:pt x="2200459" y="2817471"/>
                </a:lnTo>
                <a:lnTo>
                  <a:pt x="2156993" y="2829474"/>
                </a:lnTo>
                <a:lnTo>
                  <a:pt x="2112584" y="2838318"/>
                </a:lnTo>
                <a:lnTo>
                  <a:pt x="2067401" y="2843913"/>
                </a:lnTo>
                <a:lnTo>
                  <a:pt x="2021617" y="2846169"/>
                </a:lnTo>
                <a:lnTo>
                  <a:pt x="1975400" y="2844997"/>
                </a:lnTo>
                <a:lnTo>
                  <a:pt x="1928923" y="2840305"/>
                </a:lnTo>
                <a:lnTo>
                  <a:pt x="1882355" y="2832005"/>
                </a:lnTo>
                <a:lnTo>
                  <a:pt x="1835867" y="2820005"/>
                </a:lnTo>
                <a:lnTo>
                  <a:pt x="1785715" y="2802626"/>
                </a:lnTo>
                <a:lnTo>
                  <a:pt x="1737529" y="2781177"/>
                </a:lnTo>
                <a:lnTo>
                  <a:pt x="1691545" y="2755825"/>
                </a:lnTo>
                <a:lnTo>
                  <a:pt x="1648002" y="2726740"/>
                </a:lnTo>
                <a:lnTo>
                  <a:pt x="1607138" y="2694088"/>
                </a:lnTo>
                <a:lnTo>
                  <a:pt x="1569190" y="2658039"/>
                </a:lnTo>
                <a:lnTo>
                  <a:pt x="1534398" y="2618760"/>
                </a:lnTo>
                <a:lnTo>
                  <a:pt x="1503000" y="2576419"/>
                </a:lnTo>
                <a:lnTo>
                  <a:pt x="1460931" y="2599544"/>
                </a:lnTo>
                <a:lnTo>
                  <a:pt x="1417974" y="2619538"/>
                </a:lnTo>
                <a:lnTo>
                  <a:pt x="1374272" y="2636437"/>
                </a:lnTo>
                <a:lnTo>
                  <a:pt x="1329970" y="2650277"/>
                </a:lnTo>
                <a:lnTo>
                  <a:pt x="1285209" y="2661092"/>
                </a:lnTo>
                <a:lnTo>
                  <a:pt x="1240135" y="2668919"/>
                </a:lnTo>
                <a:lnTo>
                  <a:pt x="1194891" y="2673792"/>
                </a:lnTo>
                <a:lnTo>
                  <a:pt x="1149620" y="2675747"/>
                </a:lnTo>
                <a:lnTo>
                  <a:pt x="1104465" y="2674820"/>
                </a:lnTo>
                <a:lnTo>
                  <a:pt x="1059571" y="2671045"/>
                </a:lnTo>
                <a:lnTo>
                  <a:pt x="1015082" y="2664459"/>
                </a:lnTo>
                <a:lnTo>
                  <a:pt x="971139" y="2655096"/>
                </a:lnTo>
                <a:lnTo>
                  <a:pt x="927888" y="2642992"/>
                </a:lnTo>
                <a:lnTo>
                  <a:pt x="885472" y="2628182"/>
                </a:lnTo>
                <a:lnTo>
                  <a:pt x="844035" y="2610702"/>
                </a:lnTo>
                <a:lnTo>
                  <a:pt x="803719" y="2590587"/>
                </a:lnTo>
                <a:lnTo>
                  <a:pt x="764669" y="2567872"/>
                </a:lnTo>
                <a:lnTo>
                  <a:pt x="727028" y="2542594"/>
                </a:lnTo>
                <a:lnTo>
                  <a:pt x="690939" y="2514786"/>
                </a:lnTo>
                <a:lnTo>
                  <a:pt x="656548" y="2484485"/>
                </a:lnTo>
                <a:lnTo>
                  <a:pt x="623996" y="2451727"/>
                </a:lnTo>
                <a:lnTo>
                  <a:pt x="593427" y="2416545"/>
                </a:lnTo>
                <a:lnTo>
                  <a:pt x="564986" y="2378977"/>
                </a:lnTo>
                <a:lnTo>
                  <a:pt x="538816" y="2339056"/>
                </a:lnTo>
                <a:lnTo>
                  <a:pt x="531323" y="2326610"/>
                </a:lnTo>
                <a:lnTo>
                  <a:pt x="481530" y="2329279"/>
                </a:lnTo>
                <a:lnTo>
                  <a:pt x="432877" y="2325950"/>
                </a:lnTo>
                <a:lnTo>
                  <a:pt x="385777" y="2316944"/>
                </a:lnTo>
                <a:lnTo>
                  <a:pt x="340642" y="2302580"/>
                </a:lnTo>
                <a:lnTo>
                  <a:pt x="297884" y="2283179"/>
                </a:lnTo>
                <a:lnTo>
                  <a:pt x="257918" y="2259059"/>
                </a:lnTo>
                <a:lnTo>
                  <a:pt x="221154" y="2230542"/>
                </a:lnTo>
                <a:lnTo>
                  <a:pt x="188007" y="2197945"/>
                </a:lnTo>
                <a:lnTo>
                  <a:pt x="158889" y="2161591"/>
                </a:lnTo>
                <a:lnTo>
                  <a:pt x="134213" y="2121797"/>
                </a:lnTo>
                <a:lnTo>
                  <a:pt x="114392" y="2078884"/>
                </a:lnTo>
                <a:lnTo>
                  <a:pt x="99837" y="2033172"/>
                </a:lnTo>
                <a:lnTo>
                  <a:pt x="90963" y="1984980"/>
                </a:lnTo>
                <a:lnTo>
                  <a:pt x="88270" y="1936239"/>
                </a:lnTo>
                <a:lnTo>
                  <a:pt x="91743" y="1888012"/>
                </a:lnTo>
                <a:lnTo>
                  <a:pt x="101203" y="1840832"/>
                </a:lnTo>
                <a:lnTo>
                  <a:pt x="116474" y="1795230"/>
                </a:lnTo>
                <a:lnTo>
                  <a:pt x="137377" y="1751735"/>
                </a:lnTo>
                <a:lnTo>
                  <a:pt x="163735" y="1710880"/>
                </a:lnTo>
                <a:lnTo>
                  <a:pt x="195369" y="1673195"/>
                </a:lnTo>
                <a:lnTo>
                  <a:pt x="154121" y="1645757"/>
                </a:lnTo>
                <a:lnTo>
                  <a:pt x="117448" y="1614184"/>
                </a:lnTo>
                <a:lnTo>
                  <a:pt x="85484" y="1578980"/>
                </a:lnTo>
                <a:lnTo>
                  <a:pt x="58361" y="1540645"/>
                </a:lnTo>
                <a:lnTo>
                  <a:pt x="36211" y="1499682"/>
                </a:lnTo>
                <a:lnTo>
                  <a:pt x="19168" y="1456590"/>
                </a:lnTo>
                <a:lnTo>
                  <a:pt x="7363" y="1411873"/>
                </a:lnTo>
                <a:lnTo>
                  <a:pt x="929" y="1366031"/>
                </a:lnTo>
                <a:lnTo>
                  <a:pt x="0" y="1319567"/>
                </a:lnTo>
                <a:lnTo>
                  <a:pt x="4706" y="1272981"/>
                </a:lnTo>
                <a:lnTo>
                  <a:pt x="15181" y="1226775"/>
                </a:lnTo>
                <a:lnTo>
                  <a:pt x="31557" y="1181450"/>
                </a:lnTo>
                <a:lnTo>
                  <a:pt x="53968" y="1137509"/>
                </a:lnTo>
                <a:lnTo>
                  <a:pt x="80026" y="1098922"/>
                </a:lnTo>
                <a:lnTo>
                  <a:pt x="110183" y="1064008"/>
                </a:lnTo>
                <a:lnTo>
                  <a:pt x="144037" y="1033023"/>
                </a:lnTo>
                <a:lnTo>
                  <a:pt x="181184" y="1006223"/>
                </a:lnTo>
                <a:lnTo>
                  <a:pt x="221221" y="983864"/>
                </a:lnTo>
                <a:lnTo>
                  <a:pt x="263747" y="966202"/>
                </a:lnTo>
                <a:lnTo>
                  <a:pt x="308359" y="953493"/>
                </a:lnTo>
                <a:lnTo>
                  <a:pt x="354653" y="945993"/>
                </a:lnTo>
                <a:lnTo>
                  <a:pt x="357968" y="937103"/>
                </a:lnTo>
                <a:close/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477503" y="3393440"/>
            <a:ext cx="231140" cy="53340"/>
          </a:xfrm>
          <a:custGeom>
            <a:avLst/>
            <a:gdLst/>
            <a:ahLst/>
            <a:cxnLst/>
            <a:rect l="l" t="t" r="r" b="b"/>
            <a:pathLst>
              <a:path w="231140" h="53339">
                <a:moveTo>
                  <a:pt x="230555" y="52450"/>
                </a:moveTo>
                <a:lnTo>
                  <a:pt x="182369" y="53262"/>
                </a:lnTo>
                <a:lnTo>
                  <a:pt x="134702" y="48307"/>
                </a:lnTo>
                <a:lnTo>
                  <a:pt x="88072" y="37701"/>
                </a:lnTo>
                <a:lnTo>
                  <a:pt x="42998" y="21560"/>
                </a:lnTo>
                <a:lnTo>
                  <a:pt x="0" y="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810637" y="4020311"/>
            <a:ext cx="100965" cy="25400"/>
          </a:xfrm>
          <a:custGeom>
            <a:avLst/>
            <a:gdLst/>
            <a:ahLst/>
            <a:cxnLst/>
            <a:rect l="l" t="t" r="r" b="b"/>
            <a:pathLst>
              <a:path w="100965" h="25400">
                <a:moveTo>
                  <a:pt x="100837" y="0"/>
                </a:moveTo>
                <a:lnTo>
                  <a:pt x="76277" y="8715"/>
                </a:lnTo>
                <a:lnTo>
                  <a:pt x="51228" y="15811"/>
                </a:lnTo>
                <a:lnTo>
                  <a:pt x="25775" y="21288"/>
                </a:lnTo>
                <a:lnTo>
                  <a:pt x="0" y="25145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719957" y="4181729"/>
            <a:ext cx="60960" cy="114935"/>
          </a:xfrm>
          <a:custGeom>
            <a:avLst/>
            <a:gdLst/>
            <a:ahLst/>
            <a:cxnLst/>
            <a:rect l="l" t="t" r="r" b="b"/>
            <a:pathLst>
              <a:path w="60960" h="114935">
                <a:moveTo>
                  <a:pt x="60706" y="114554"/>
                </a:moveTo>
                <a:lnTo>
                  <a:pt x="43237" y="87135"/>
                </a:lnTo>
                <a:lnTo>
                  <a:pt x="27257" y="58848"/>
                </a:lnTo>
                <a:lnTo>
                  <a:pt x="12825" y="29775"/>
                </a:lnTo>
                <a:lnTo>
                  <a:pt x="0" y="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880356" y="4010533"/>
            <a:ext cx="24765" cy="125730"/>
          </a:xfrm>
          <a:custGeom>
            <a:avLst/>
            <a:gdLst/>
            <a:ahLst/>
            <a:cxnLst/>
            <a:rect l="l" t="t" r="r" b="b"/>
            <a:pathLst>
              <a:path w="24764" h="125729">
                <a:moveTo>
                  <a:pt x="24257" y="0"/>
                </a:moveTo>
                <a:lnTo>
                  <a:pt x="20734" y="31896"/>
                </a:lnTo>
                <a:lnTo>
                  <a:pt x="15509" y="63531"/>
                </a:lnTo>
                <a:lnTo>
                  <a:pt x="8594" y="94833"/>
                </a:lnTo>
                <a:lnTo>
                  <a:pt x="0" y="12573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387213" y="3233673"/>
            <a:ext cx="295910" cy="469900"/>
          </a:xfrm>
          <a:custGeom>
            <a:avLst/>
            <a:gdLst/>
            <a:ahLst/>
            <a:cxnLst/>
            <a:rect l="l" t="t" r="r" b="b"/>
            <a:pathLst>
              <a:path w="295910" h="469900">
                <a:moveTo>
                  <a:pt x="0" y="0"/>
                </a:moveTo>
                <a:lnTo>
                  <a:pt x="44191" y="23814"/>
                </a:lnTo>
                <a:lnTo>
                  <a:pt x="85401" y="51326"/>
                </a:lnTo>
                <a:lnTo>
                  <a:pt x="123459" y="82262"/>
                </a:lnTo>
                <a:lnTo>
                  <a:pt x="158194" y="116350"/>
                </a:lnTo>
                <a:lnTo>
                  <a:pt x="189435" y="153319"/>
                </a:lnTo>
                <a:lnTo>
                  <a:pt x="217011" y="192897"/>
                </a:lnTo>
                <a:lnTo>
                  <a:pt x="240750" y="234810"/>
                </a:lnTo>
                <a:lnTo>
                  <a:pt x="260481" y="278788"/>
                </a:lnTo>
                <a:lnTo>
                  <a:pt x="276034" y="324558"/>
                </a:lnTo>
                <a:lnTo>
                  <a:pt x="287237" y="371848"/>
                </a:lnTo>
                <a:lnTo>
                  <a:pt x="293919" y="420386"/>
                </a:lnTo>
                <a:lnTo>
                  <a:pt x="295910" y="46990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53505" y="2733167"/>
            <a:ext cx="132080" cy="176530"/>
          </a:xfrm>
          <a:custGeom>
            <a:avLst/>
            <a:gdLst/>
            <a:ahLst/>
            <a:cxnLst/>
            <a:rect l="l" t="t" r="r" b="b"/>
            <a:pathLst>
              <a:path w="132079" h="176530">
                <a:moveTo>
                  <a:pt x="131699" y="0"/>
                </a:moveTo>
                <a:lnTo>
                  <a:pt x="106709" y="49528"/>
                </a:lnTo>
                <a:lnTo>
                  <a:pt x="76184" y="95710"/>
                </a:lnTo>
                <a:lnTo>
                  <a:pt x="40491" y="138106"/>
                </a:lnTo>
                <a:lnTo>
                  <a:pt x="0" y="176275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769103" y="2079370"/>
            <a:ext cx="6985" cy="83820"/>
          </a:xfrm>
          <a:custGeom>
            <a:avLst/>
            <a:gdLst/>
            <a:ahLst/>
            <a:cxnLst/>
            <a:rect l="l" t="t" r="r" b="b"/>
            <a:pathLst>
              <a:path w="6985" h="83819">
                <a:moveTo>
                  <a:pt x="0" y="0"/>
                </a:moveTo>
                <a:lnTo>
                  <a:pt x="3232" y="20714"/>
                </a:lnTo>
                <a:lnTo>
                  <a:pt x="5476" y="41513"/>
                </a:lnTo>
                <a:lnTo>
                  <a:pt x="6697" y="62382"/>
                </a:lnTo>
                <a:lnTo>
                  <a:pt x="6858" y="83312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927473" y="1876299"/>
            <a:ext cx="67945" cy="106045"/>
          </a:xfrm>
          <a:custGeom>
            <a:avLst/>
            <a:gdLst/>
            <a:ahLst/>
            <a:cxnLst/>
            <a:rect l="l" t="t" r="r" b="b"/>
            <a:pathLst>
              <a:path w="67945" h="106044">
                <a:moveTo>
                  <a:pt x="0" y="106044"/>
                </a:moveTo>
                <a:lnTo>
                  <a:pt x="13896" y="77777"/>
                </a:lnTo>
                <a:lnTo>
                  <a:pt x="29829" y="50593"/>
                </a:lnTo>
                <a:lnTo>
                  <a:pt x="47738" y="24624"/>
                </a:lnTo>
                <a:lnTo>
                  <a:pt x="67563" y="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296155" y="1941448"/>
            <a:ext cx="33020" cy="91440"/>
          </a:xfrm>
          <a:custGeom>
            <a:avLst/>
            <a:gdLst/>
            <a:ahLst/>
            <a:cxnLst/>
            <a:rect l="l" t="t" r="r" b="b"/>
            <a:pathLst>
              <a:path w="33019" h="91439">
                <a:moveTo>
                  <a:pt x="0" y="91439"/>
                </a:moveTo>
                <a:lnTo>
                  <a:pt x="5974" y="67901"/>
                </a:lnTo>
                <a:lnTo>
                  <a:pt x="13414" y="44767"/>
                </a:lnTo>
                <a:lnTo>
                  <a:pt x="22306" y="22109"/>
                </a:lnTo>
                <a:lnTo>
                  <a:pt x="32638" y="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555111" y="2064004"/>
            <a:ext cx="118745" cy="88900"/>
          </a:xfrm>
          <a:custGeom>
            <a:avLst/>
            <a:gdLst/>
            <a:ahLst/>
            <a:cxnLst/>
            <a:rect l="l" t="t" r="r" b="b"/>
            <a:pathLst>
              <a:path w="118744" h="88900">
                <a:moveTo>
                  <a:pt x="0" y="0"/>
                </a:moveTo>
                <a:lnTo>
                  <a:pt x="31585" y="19514"/>
                </a:lnTo>
                <a:lnTo>
                  <a:pt x="61896" y="40862"/>
                </a:lnTo>
                <a:lnTo>
                  <a:pt x="90850" y="63972"/>
                </a:lnTo>
                <a:lnTo>
                  <a:pt x="118363" y="88773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635898" y="2668397"/>
            <a:ext cx="20955" cy="93980"/>
          </a:xfrm>
          <a:custGeom>
            <a:avLst/>
            <a:gdLst/>
            <a:ahLst/>
            <a:cxnLst/>
            <a:rect l="l" t="t" r="r" b="b"/>
            <a:pathLst>
              <a:path w="20955" h="93980">
                <a:moveTo>
                  <a:pt x="20650" y="93472"/>
                </a:moveTo>
                <a:lnTo>
                  <a:pt x="14083" y="70401"/>
                </a:lnTo>
                <a:lnTo>
                  <a:pt x="8448" y="47116"/>
                </a:lnTo>
                <a:lnTo>
                  <a:pt x="3751" y="23641"/>
                </a:lnTo>
                <a:lnTo>
                  <a:pt x="0" y="0"/>
                </a:lnTo>
              </a:path>
            </a:pathLst>
          </a:custGeom>
          <a:ln w="10160">
            <a:solidFill>
              <a:srgbClr val="DFFFE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996440" y="1092200"/>
            <a:ext cx="4064000" cy="284480"/>
          </a:xfrm>
          <a:custGeom>
            <a:avLst/>
            <a:gdLst/>
            <a:ahLst/>
            <a:cxnLst/>
            <a:rect l="l" t="t" r="r" b="b"/>
            <a:pathLst>
              <a:path w="4064000" h="284480">
                <a:moveTo>
                  <a:pt x="4011803" y="0"/>
                </a:moveTo>
                <a:lnTo>
                  <a:pt x="0" y="0"/>
                </a:lnTo>
                <a:lnTo>
                  <a:pt x="0" y="284479"/>
                </a:lnTo>
                <a:lnTo>
                  <a:pt x="4064000" y="284479"/>
                </a:lnTo>
                <a:lnTo>
                  <a:pt x="4011803" y="0"/>
                </a:lnTo>
                <a:close/>
              </a:path>
            </a:pathLst>
          </a:custGeom>
          <a:solidFill>
            <a:srgbClr val="BDCDD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996440" y="1092200"/>
            <a:ext cx="4064000" cy="284480"/>
          </a:xfrm>
          <a:custGeom>
            <a:avLst/>
            <a:gdLst/>
            <a:ahLst/>
            <a:cxnLst/>
            <a:rect l="l" t="t" r="r" b="b"/>
            <a:pathLst>
              <a:path w="4064000" h="284480">
                <a:moveTo>
                  <a:pt x="0" y="0"/>
                </a:moveTo>
                <a:lnTo>
                  <a:pt x="4011803" y="0"/>
                </a:lnTo>
                <a:lnTo>
                  <a:pt x="4064000" y="284479"/>
                </a:lnTo>
                <a:lnTo>
                  <a:pt x="0" y="284479"/>
                </a:lnTo>
                <a:lnTo>
                  <a:pt x="0" y="0"/>
                </a:lnTo>
                <a:close/>
              </a:path>
            </a:pathLst>
          </a:custGeom>
          <a:ln w="10160">
            <a:solidFill>
              <a:srgbClr val="869BA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2089784" y="1149097"/>
            <a:ext cx="2217420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050" b="1" spc="-5" dirty="0">
                <a:latin typeface="Arial"/>
                <a:cs typeface="Arial"/>
              </a:rPr>
              <a:t>P2P Energy </a:t>
            </a:r>
            <a:r>
              <a:rPr sz="1050" b="1" spc="5" dirty="0">
                <a:latin typeface="Arial"/>
                <a:cs typeface="Arial"/>
              </a:rPr>
              <a:t>Trading </a:t>
            </a:r>
            <a:r>
              <a:rPr sz="1050" b="1" spc="10" dirty="0">
                <a:latin typeface="Arial"/>
                <a:cs typeface="Arial"/>
              </a:rPr>
              <a:t>in </a:t>
            </a:r>
            <a:r>
              <a:rPr sz="1050" b="1" spc="-5" dirty="0">
                <a:latin typeface="Arial"/>
                <a:cs typeface="Arial"/>
              </a:rPr>
              <a:t>a</a:t>
            </a:r>
            <a:r>
              <a:rPr sz="1050" b="1" spc="-60" dirty="0">
                <a:latin typeface="Arial"/>
                <a:cs typeface="Arial"/>
              </a:rPr>
              <a:t> </a:t>
            </a:r>
            <a:r>
              <a:rPr sz="1050" b="1" dirty="0">
                <a:latin typeface="Arial"/>
                <a:cs typeface="Arial"/>
              </a:rPr>
              <a:t>Microgrid</a:t>
            </a:r>
            <a:endParaRPr sz="1050"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3596639" y="2468879"/>
            <a:ext cx="894080" cy="843280"/>
          </a:xfrm>
          <a:custGeom>
            <a:avLst/>
            <a:gdLst/>
            <a:ahLst/>
            <a:cxnLst/>
            <a:rect l="l" t="t" r="r" b="b"/>
            <a:pathLst>
              <a:path w="894080" h="843279">
                <a:moveTo>
                  <a:pt x="0" y="421640"/>
                </a:moveTo>
                <a:lnTo>
                  <a:pt x="2623" y="375688"/>
                </a:lnTo>
                <a:lnTo>
                  <a:pt x="10311" y="331172"/>
                </a:lnTo>
                <a:lnTo>
                  <a:pt x="22790" y="288348"/>
                </a:lnTo>
                <a:lnTo>
                  <a:pt x="39789" y="247474"/>
                </a:lnTo>
                <a:lnTo>
                  <a:pt x="61035" y="208806"/>
                </a:lnTo>
                <a:lnTo>
                  <a:pt x="86254" y="172602"/>
                </a:lnTo>
                <a:lnTo>
                  <a:pt x="115174" y="139117"/>
                </a:lnTo>
                <a:lnTo>
                  <a:pt x="147522" y="108610"/>
                </a:lnTo>
                <a:lnTo>
                  <a:pt x="183026" y="81336"/>
                </a:lnTo>
                <a:lnTo>
                  <a:pt x="221412" y="57554"/>
                </a:lnTo>
                <a:lnTo>
                  <a:pt x="262409" y="37520"/>
                </a:lnTo>
                <a:lnTo>
                  <a:pt x="305742" y="21490"/>
                </a:lnTo>
                <a:lnTo>
                  <a:pt x="351141" y="9722"/>
                </a:lnTo>
                <a:lnTo>
                  <a:pt x="398331" y="2473"/>
                </a:lnTo>
                <a:lnTo>
                  <a:pt x="447040" y="0"/>
                </a:lnTo>
                <a:lnTo>
                  <a:pt x="495748" y="2473"/>
                </a:lnTo>
                <a:lnTo>
                  <a:pt x="542938" y="9722"/>
                </a:lnTo>
                <a:lnTo>
                  <a:pt x="588337" y="21490"/>
                </a:lnTo>
                <a:lnTo>
                  <a:pt x="631670" y="37520"/>
                </a:lnTo>
                <a:lnTo>
                  <a:pt x="672667" y="57554"/>
                </a:lnTo>
                <a:lnTo>
                  <a:pt x="711053" y="81336"/>
                </a:lnTo>
                <a:lnTo>
                  <a:pt x="746557" y="108610"/>
                </a:lnTo>
                <a:lnTo>
                  <a:pt x="778905" y="139117"/>
                </a:lnTo>
                <a:lnTo>
                  <a:pt x="807825" y="172602"/>
                </a:lnTo>
                <a:lnTo>
                  <a:pt x="833044" y="208806"/>
                </a:lnTo>
                <a:lnTo>
                  <a:pt x="854290" y="247474"/>
                </a:lnTo>
                <a:lnTo>
                  <a:pt x="871289" y="288348"/>
                </a:lnTo>
                <a:lnTo>
                  <a:pt x="883768" y="331172"/>
                </a:lnTo>
                <a:lnTo>
                  <a:pt x="891456" y="375688"/>
                </a:lnTo>
                <a:lnTo>
                  <a:pt x="894080" y="421640"/>
                </a:lnTo>
                <a:lnTo>
                  <a:pt x="891456" y="467591"/>
                </a:lnTo>
                <a:lnTo>
                  <a:pt x="883768" y="512107"/>
                </a:lnTo>
                <a:lnTo>
                  <a:pt x="871289" y="554931"/>
                </a:lnTo>
                <a:lnTo>
                  <a:pt x="854290" y="595805"/>
                </a:lnTo>
                <a:lnTo>
                  <a:pt x="833044" y="634473"/>
                </a:lnTo>
                <a:lnTo>
                  <a:pt x="807825" y="670677"/>
                </a:lnTo>
                <a:lnTo>
                  <a:pt x="778905" y="704162"/>
                </a:lnTo>
                <a:lnTo>
                  <a:pt x="746557" y="734669"/>
                </a:lnTo>
                <a:lnTo>
                  <a:pt x="711053" y="761943"/>
                </a:lnTo>
                <a:lnTo>
                  <a:pt x="672667" y="785725"/>
                </a:lnTo>
                <a:lnTo>
                  <a:pt x="631670" y="805759"/>
                </a:lnTo>
                <a:lnTo>
                  <a:pt x="588337" y="821789"/>
                </a:lnTo>
                <a:lnTo>
                  <a:pt x="542938" y="833557"/>
                </a:lnTo>
                <a:lnTo>
                  <a:pt x="495748" y="840806"/>
                </a:lnTo>
                <a:lnTo>
                  <a:pt x="447040" y="843280"/>
                </a:lnTo>
                <a:lnTo>
                  <a:pt x="398331" y="840806"/>
                </a:lnTo>
                <a:lnTo>
                  <a:pt x="351141" y="833557"/>
                </a:lnTo>
                <a:lnTo>
                  <a:pt x="305742" y="821789"/>
                </a:lnTo>
                <a:lnTo>
                  <a:pt x="262409" y="805759"/>
                </a:lnTo>
                <a:lnTo>
                  <a:pt x="221412" y="785725"/>
                </a:lnTo>
                <a:lnTo>
                  <a:pt x="183026" y="761943"/>
                </a:lnTo>
                <a:lnTo>
                  <a:pt x="147522" y="734669"/>
                </a:lnTo>
                <a:lnTo>
                  <a:pt x="115174" y="704162"/>
                </a:lnTo>
                <a:lnTo>
                  <a:pt x="86254" y="670677"/>
                </a:lnTo>
                <a:lnTo>
                  <a:pt x="61035" y="634473"/>
                </a:lnTo>
                <a:lnTo>
                  <a:pt x="39789" y="595805"/>
                </a:lnTo>
                <a:lnTo>
                  <a:pt x="22790" y="554931"/>
                </a:lnTo>
                <a:lnTo>
                  <a:pt x="10311" y="512107"/>
                </a:lnTo>
                <a:lnTo>
                  <a:pt x="2623" y="467591"/>
                </a:lnTo>
                <a:lnTo>
                  <a:pt x="0" y="421640"/>
                </a:lnTo>
                <a:close/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174240" y="2870835"/>
            <a:ext cx="1315720" cy="0"/>
          </a:xfrm>
          <a:custGeom>
            <a:avLst/>
            <a:gdLst/>
            <a:ahLst/>
            <a:cxnLst/>
            <a:rect l="l" t="t" r="r" b="b"/>
            <a:pathLst>
              <a:path w="1315720">
                <a:moveTo>
                  <a:pt x="0" y="0"/>
                </a:moveTo>
                <a:lnTo>
                  <a:pt x="131572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85439" y="2875279"/>
            <a:ext cx="0" cy="147320"/>
          </a:xfrm>
          <a:custGeom>
            <a:avLst/>
            <a:gdLst/>
            <a:ahLst/>
            <a:cxnLst/>
            <a:rect l="l" t="t" r="r" b="b"/>
            <a:pathLst>
              <a:path h="147319">
                <a:moveTo>
                  <a:pt x="0" y="0"/>
                </a:moveTo>
                <a:lnTo>
                  <a:pt x="0" y="14732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129280" y="2738121"/>
            <a:ext cx="0" cy="129539"/>
          </a:xfrm>
          <a:custGeom>
            <a:avLst/>
            <a:gdLst/>
            <a:ahLst/>
            <a:cxnLst/>
            <a:rect l="l" t="t" r="r" b="b"/>
            <a:pathLst>
              <a:path h="129539">
                <a:moveTo>
                  <a:pt x="0" y="0"/>
                </a:moveTo>
                <a:lnTo>
                  <a:pt x="0" y="129539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346960" y="2875279"/>
            <a:ext cx="0" cy="137160"/>
          </a:xfrm>
          <a:custGeom>
            <a:avLst/>
            <a:gdLst/>
            <a:ahLst/>
            <a:cxnLst/>
            <a:rect l="l" t="t" r="r" b="b"/>
            <a:pathLst>
              <a:path h="137160">
                <a:moveTo>
                  <a:pt x="0" y="0"/>
                </a:moveTo>
                <a:lnTo>
                  <a:pt x="0" y="13716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087880" y="32054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20">
                <a:moveTo>
                  <a:pt x="0" y="274320"/>
                </a:moveTo>
                <a:lnTo>
                  <a:pt x="447039" y="274320"/>
                </a:lnTo>
                <a:lnTo>
                  <a:pt x="447039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087880" y="32054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20">
                <a:moveTo>
                  <a:pt x="0" y="274320"/>
                </a:moveTo>
                <a:lnTo>
                  <a:pt x="447039" y="274320"/>
                </a:lnTo>
                <a:lnTo>
                  <a:pt x="447039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ln w="12699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194559" y="3241039"/>
            <a:ext cx="213360" cy="193040"/>
          </a:xfrm>
          <a:custGeom>
            <a:avLst/>
            <a:gdLst/>
            <a:ahLst/>
            <a:cxnLst/>
            <a:rect l="l" t="t" r="r" b="b"/>
            <a:pathLst>
              <a:path w="213359" h="193039">
                <a:moveTo>
                  <a:pt x="186842" y="111887"/>
                </a:moveTo>
                <a:lnTo>
                  <a:pt x="26517" y="111887"/>
                </a:lnTo>
                <a:lnTo>
                  <a:pt x="26517" y="193039"/>
                </a:lnTo>
                <a:lnTo>
                  <a:pt x="186842" y="193039"/>
                </a:lnTo>
                <a:lnTo>
                  <a:pt x="186842" y="111887"/>
                </a:lnTo>
                <a:close/>
              </a:path>
              <a:path w="213359" h="193039">
                <a:moveTo>
                  <a:pt x="186842" y="31876"/>
                </a:moveTo>
                <a:lnTo>
                  <a:pt x="26517" y="31876"/>
                </a:lnTo>
                <a:lnTo>
                  <a:pt x="0" y="111887"/>
                </a:lnTo>
                <a:lnTo>
                  <a:pt x="213359" y="111887"/>
                </a:lnTo>
                <a:lnTo>
                  <a:pt x="207593" y="94487"/>
                </a:lnTo>
                <a:lnTo>
                  <a:pt x="22352" y="94487"/>
                </a:lnTo>
                <a:lnTo>
                  <a:pt x="27559" y="74549"/>
                </a:lnTo>
                <a:lnTo>
                  <a:pt x="200985" y="74549"/>
                </a:lnTo>
                <a:lnTo>
                  <a:pt x="197870" y="65150"/>
                </a:lnTo>
                <a:lnTo>
                  <a:pt x="30835" y="65150"/>
                </a:lnTo>
                <a:lnTo>
                  <a:pt x="37096" y="43814"/>
                </a:lnTo>
                <a:lnTo>
                  <a:pt x="190798" y="43814"/>
                </a:lnTo>
                <a:lnTo>
                  <a:pt x="186842" y="31876"/>
                </a:lnTo>
                <a:close/>
              </a:path>
              <a:path w="213359" h="193039">
                <a:moveTo>
                  <a:pt x="68986" y="74549"/>
                </a:moveTo>
                <a:lnTo>
                  <a:pt x="61531" y="74549"/>
                </a:lnTo>
                <a:lnTo>
                  <a:pt x="59448" y="94487"/>
                </a:lnTo>
                <a:lnTo>
                  <a:pt x="65849" y="94487"/>
                </a:lnTo>
                <a:lnTo>
                  <a:pt x="68986" y="74549"/>
                </a:lnTo>
                <a:close/>
              </a:path>
              <a:path w="213359" h="193039">
                <a:moveTo>
                  <a:pt x="109359" y="74549"/>
                </a:moveTo>
                <a:lnTo>
                  <a:pt x="102958" y="74549"/>
                </a:lnTo>
                <a:lnTo>
                  <a:pt x="102958" y="94487"/>
                </a:lnTo>
                <a:lnTo>
                  <a:pt x="109359" y="94487"/>
                </a:lnTo>
                <a:lnTo>
                  <a:pt x="109359" y="74549"/>
                </a:lnTo>
                <a:close/>
              </a:path>
              <a:path w="213359" h="193039">
                <a:moveTo>
                  <a:pt x="150787" y="74549"/>
                </a:moveTo>
                <a:lnTo>
                  <a:pt x="144373" y="74549"/>
                </a:lnTo>
                <a:lnTo>
                  <a:pt x="146456" y="94487"/>
                </a:lnTo>
                <a:lnTo>
                  <a:pt x="153911" y="94487"/>
                </a:lnTo>
                <a:lnTo>
                  <a:pt x="150787" y="74549"/>
                </a:lnTo>
                <a:close/>
              </a:path>
              <a:path w="213359" h="193039">
                <a:moveTo>
                  <a:pt x="200985" y="74549"/>
                </a:moveTo>
                <a:lnTo>
                  <a:pt x="184746" y="74549"/>
                </a:lnTo>
                <a:lnTo>
                  <a:pt x="191008" y="94487"/>
                </a:lnTo>
                <a:lnTo>
                  <a:pt x="207593" y="94487"/>
                </a:lnTo>
                <a:lnTo>
                  <a:pt x="200985" y="74549"/>
                </a:lnTo>
                <a:close/>
              </a:path>
              <a:path w="213359" h="193039">
                <a:moveTo>
                  <a:pt x="73304" y="43814"/>
                </a:moveTo>
                <a:lnTo>
                  <a:pt x="65849" y="43814"/>
                </a:lnTo>
                <a:lnTo>
                  <a:pt x="63614" y="65150"/>
                </a:lnTo>
                <a:lnTo>
                  <a:pt x="70027" y="65150"/>
                </a:lnTo>
                <a:lnTo>
                  <a:pt x="73304" y="43814"/>
                </a:lnTo>
                <a:close/>
              </a:path>
              <a:path w="213359" h="193039">
                <a:moveTo>
                  <a:pt x="109359" y="43814"/>
                </a:moveTo>
                <a:lnTo>
                  <a:pt x="102958" y="43814"/>
                </a:lnTo>
                <a:lnTo>
                  <a:pt x="102958" y="65150"/>
                </a:lnTo>
                <a:lnTo>
                  <a:pt x="109359" y="65150"/>
                </a:lnTo>
                <a:lnTo>
                  <a:pt x="109359" y="43814"/>
                </a:lnTo>
                <a:close/>
              </a:path>
              <a:path w="213359" h="193039">
                <a:moveTo>
                  <a:pt x="146456" y="43814"/>
                </a:moveTo>
                <a:lnTo>
                  <a:pt x="140055" y="43814"/>
                </a:lnTo>
                <a:lnTo>
                  <a:pt x="142290" y="65150"/>
                </a:lnTo>
                <a:lnTo>
                  <a:pt x="149745" y="65150"/>
                </a:lnTo>
                <a:lnTo>
                  <a:pt x="146456" y="43814"/>
                </a:lnTo>
                <a:close/>
              </a:path>
              <a:path w="213359" h="193039">
                <a:moveTo>
                  <a:pt x="190798" y="43814"/>
                </a:moveTo>
                <a:lnTo>
                  <a:pt x="176263" y="43814"/>
                </a:lnTo>
                <a:lnTo>
                  <a:pt x="182524" y="65150"/>
                </a:lnTo>
                <a:lnTo>
                  <a:pt x="197870" y="65150"/>
                </a:lnTo>
                <a:lnTo>
                  <a:pt x="190798" y="43814"/>
                </a:lnTo>
                <a:close/>
              </a:path>
              <a:path w="213359" h="193039">
                <a:moveTo>
                  <a:pt x="75387" y="0"/>
                </a:moveTo>
                <a:lnTo>
                  <a:pt x="53047" y="0"/>
                </a:lnTo>
                <a:lnTo>
                  <a:pt x="53047" y="31876"/>
                </a:lnTo>
                <a:lnTo>
                  <a:pt x="75387" y="31876"/>
                </a:lnTo>
                <a:lnTo>
                  <a:pt x="75387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043679" y="3950652"/>
            <a:ext cx="27940" cy="0"/>
          </a:xfrm>
          <a:custGeom>
            <a:avLst/>
            <a:gdLst/>
            <a:ahLst/>
            <a:cxnLst/>
            <a:rect l="l" t="t" r="r" b="b"/>
            <a:pathLst>
              <a:path w="27939">
                <a:moveTo>
                  <a:pt x="0" y="0"/>
                </a:moveTo>
                <a:lnTo>
                  <a:pt x="27432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590800" y="2727960"/>
            <a:ext cx="0" cy="139700"/>
          </a:xfrm>
          <a:custGeom>
            <a:avLst/>
            <a:gdLst/>
            <a:ahLst/>
            <a:cxnLst/>
            <a:rect l="l" t="t" r="r" b="b"/>
            <a:pathLst>
              <a:path h="139700">
                <a:moveTo>
                  <a:pt x="0" y="0"/>
                </a:moveTo>
                <a:lnTo>
                  <a:pt x="0" y="13970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865879" y="3677920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3840479" y="4124959"/>
            <a:ext cx="215900" cy="0"/>
          </a:xfrm>
          <a:custGeom>
            <a:avLst/>
            <a:gdLst/>
            <a:ahLst/>
            <a:cxnLst/>
            <a:rect l="l" t="t" r="r" b="b"/>
            <a:pathLst>
              <a:path w="215900">
                <a:moveTo>
                  <a:pt x="0" y="0"/>
                </a:moveTo>
                <a:lnTo>
                  <a:pt x="21590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053839" y="3901440"/>
            <a:ext cx="187960" cy="0"/>
          </a:xfrm>
          <a:custGeom>
            <a:avLst/>
            <a:gdLst/>
            <a:ahLst/>
            <a:cxnLst/>
            <a:rect l="l" t="t" r="r" b="b"/>
            <a:pathLst>
              <a:path w="187960">
                <a:moveTo>
                  <a:pt x="0" y="0"/>
                </a:moveTo>
                <a:lnTo>
                  <a:pt x="18796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977639" y="3246120"/>
            <a:ext cx="132080" cy="132080"/>
          </a:xfrm>
          <a:custGeom>
            <a:avLst/>
            <a:gdLst/>
            <a:ahLst/>
            <a:cxnLst/>
            <a:rect l="l" t="t" r="r" b="b"/>
            <a:pathLst>
              <a:path w="132080" h="132079">
                <a:moveTo>
                  <a:pt x="0" y="132079"/>
                </a:moveTo>
                <a:lnTo>
                  <a:pt x="132080" y="132079"/>
                </a:lnTo>
                <a:lnTo>
                  <a:pt x="132080" y="0"/>
                </a:lnTo>
                <a:lnTo>
                  <a:pt x="0" y="0"/>
                </a:lnTo>
                <a:lnTo>
                  <a:pt x="0" y="132079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3947160" y="3235961"/>
            <a:ext cx="172720" cy="126317"/>
          </a:xfrm>
          <a:prstGeom prst="rect">
            <a:avLst/>
          </a:prstGeom>
        </p:spPr>
        <p:txBody>
          <a:bodyPr vert="horz" wrap="square" lIns="0" tIns="18415" rIns="0" bIns="0" rtlCol="0">
            <a:spAutoFit/>
          </a:bodyPr>
          <a:lstStyle/>
          <a:p>
            <a:pPr marL="55880">
              <a:spcBef>
                <a:spcPts val="145"/>
              </a:spcBef>
            </a:pPr>
            <a:r>
              <a:rPr sz="700" b="1" spc="15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3703320" y="3622040"/>
            <a:ext cx="132080" cy="132080"/>
          </a:xfrm>
          <a:custGeom>
            <a:avLst/>
            <a:gdLst/>
            <a:ahLst/>
            <a:cxnLst/>
            <a:rect l="l" t="t" r="r" b="b"/>
            <a:pathLst>
              <a:path w="132080" h="132079">
                <a:moveTo>
                  <a:pt x="0" y="132080"/>
                </a:moveTo>
                <a:lnTo>
                  <a:pt x="132080" y="132080"/>
                </a:lnTo>
                <a:lnTo>
                  <a:pt x="132080" y="0"/>
                </a:lnTo>
                <a:lnTo>
                  <a:pt x="0" y="0"/>
                </a:lnTo>
                <a:lnTo>
                  <a:pt x="0" y="13208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3693160" y="3601720"/>
            <a:ext cx="172720" cy="131446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39370">
              <a:spcBef>
                <a:spcPts val="185"/>
              </a:spcBef>
            </a:pPr>
            <a:r>
              <a:rPr sz="700" b="1" spc="15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241800" y="3815079"/>
            <a:ext cx="182880" cy="125034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52705">
              <a:spcBef>
                <a:spcPts val="135"/>
              </a:spcBef>
            </a:pPr>
            <a:r>
              <a:rPr sz="700" b="1" spc="10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3703320" y="4069079"/>
            <a:ext cx="132080" cy="132080"/>
          </a:xfrm>
          <a:custGeom>
            <a:avLst/>
            <a:gdLst/>
            <a:ahLst/>
            <a:cxnLst/>
            <a:rect l="l" t="t" r="r" b="b"/>
            <a:pathLst>
              <a:path w="132080" h="132079">
                <a:moveTo>
                  <a:pt x="0" y="132080"/>
                </a:moveTo>
                <a:lnTo>
                  <a:pt x="132080" y="132080"/>
                </a:lnTo>
                <a:lnTo>
                  <a:pt x="132080" y="0"/>
                </a:lnTo>
                <a:lnTo>
                  <a:pt x="0" y="0"/>
                </a:lnTo>
                <a:lnTo>
                  <a:pt x="0" y="13208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3683000" y="4048760"/>
            <a:ext cx="172720" cy="134651"/>
          </a:xfrm>
          <a:prstGeom prst="rect">
            <a:avLst/>
          </a:prstGeom>
        </p:spPr>
        <p:txBody>
          <a:bodyPr vert="horz" wrap="square" lIns="0" tIns="26669" rIns="0" bIns="0" rtlCol="0">
            <a:spAutoFit/>
          </a:bodyPr>
          <a:lstStyle/>
          <a:p>
            <a:pPr marL="49530">
              <a:spcBef>
                <a:spcPts val="209"/>
              </a:spcBef>
            </a:pPr>
            <a:r>
              <a:rPr sz="700" b="1" spc="10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4445000" y="3754120"/>
            <a:ext cx="436880" cy="274320"/>
          </a:xfrm>
          <a:custGeom>
            <a:avLst/>
            <a:gdLst/>
            <a:ahLst/>
            <a:cxnLst/>
            <a:rect l="l" t="t" r="r" b="b"/>
            <a:pathLst>
              <a:path w="436879" h="274320">
                <a:moveTo>
                  <a:pt x="0" y="274319"/>
                </a:moveTo>
                <a:lnTo>
                  <a:pt x="436879" y="274319"/>
                </a:lnTo>
                <a:lnTo>
                  <a:pt x="436879" y="0"/>
                </a:lnTo>
                <a:lnTo>
                  <a:pt x="0" y="0"/>
                </a:lnTo>
                <a:lnTo>
                  <a:pt x="0" y="2743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445000" y="3754120"/>
            <a:ext cx="436880" cy="274320"/>
          </a:xfrm>
          <a:custGeom>
            <a:avLst/>
            <a:gdLst/>
            <a:ahLst/>
            <a:cxnLst/>
            <a:rect l="l" t="t" r="r" b="b"/>
            <a:pathLst>
              <a:path w="436879" h="274320">
                <a:moveTo>
                  <a:pt x="0" y="274319"/>
                </a:moveTo>
                <a:lnTo>
                  <a:pt x="436879" y="274319"/>
                </a:lnTo>
                <a:lnTo>
                  <a:pt x="436879" y="0"/>
                </a:lnTo>
                <a:lnTo>
                  <a:pt x="0" y="0"/>
                </a:lnTo>
                <a:lnTo>
                  <a:pt x="0" y="274319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551679" y="3789679"/>
            <a:ext cx="213360" cy="193040"/>
          </a:xfrm>
          <a:custGeom>
            <a:avLst/>
            <a:gdLst/>
            <a:ahLst/>
            <a:cxnLst/>
            <a:rect l="l" t="t" r="r" b="b"/>
            <a:pathLst>
              <a:path w="213360" h="193039">
                <a:moveTo>
                  <a:pt x="186817" y="111887"/>
                </a:moveTo>
                <a:lnTo>
                  <a:pt x="26543" y="111887"/>
                </a:lnTo>
                <a:lnTo>
                  <a:pt x="26543" y="193040"/>
                </a:lnTo>
                <a:lnTo>
                  <a:pt x="186817" y="193040"/>
                </a:lnTo>
                <a:lnTo>
                  <a:pt x="186817" y="111887"/>
                </a:lnTo>
                <a:close/>
              </a:path>
              <a:path w="213360" h="193039">
                <a:moveTo>
                  <a:pt x="186817" y="31877"/>
                </a:moveTo>
                <a:lnTo>
                  <a:pt x="26543" y="31877"/>
                </a:lnTo>
                <a:lnTo>
                  <a:pt x="0" y="111887"/>
                </a:lnTo>
                <a:lnTo>
                  <a:pt x="213359" y="111887"/>
                </a:lnTo>
                <a:lnTo>
                  <a:pt x="207587" y="94488"/>
                </a:lnTo>
                <a:lnTo>
                  <a:pt x="22351" y="94488"/>
                </a:lnTo>
                <a:lnTo>
                  <a:pt x="27558" y="74549"/>
                </a:lnTo>
                <a:lnTo>
                  <a:pt x="200973" y="74549"/>
                </a:lnTo>
                <a:lnTo>
                  <a:pt x="197855" y="65151"/>
                </a:lnTo>
                <a:lnTo>
                  <a:pt x="30861" y="65151"/>
                </a:lnTo>
                <a:lnTo>
                  <a:pt x="37083" y="43815"/>
                </a:lnTo>
                <a:lnTo>
                  <a:pt x="190777" y="43815"/>
                </a:lnTo>
                <a:lnTo>
                  <a:pt x="186817" y="31877"/>
                </a:lnTo>
                <a:close/>
              </a:path>
              <a:path w="213360" h="193039">
                <a:moveTo>
                  <a:pt x="68961" y="74549"/>
                </a:moveTo>
                <a:lnTo>
                  <a:pt x="61594" y="74549"/>
                </a:lnTo>
                <a:lnTo>
                  <a:pt x="59436" y="94488"/>
                </a:lnTo>
                <a:lnTo>
                  <a:pt x="65912" y="94488"/>
                </a:lnTo>
                <a:lnTo>
                  <a:pt x="68961" y="74549"/>
                </a:lnTo>
                <a:close/>
              </a:path>
              <a:path w="213360" h="193039">
                <a:moveTo>
                  <a:pt x="109346" y="74549"/>
                </a:moveTo>
                <a:lnTo>
                  <a:pt x="102996" y="74549"/>
                </a:lnTo>
                <a:lnTo>
                  <a:pt x="102996" y="94488"/>
                </a:lnTo>
                <a:lnTo>
                  <a:pt x="109346" y="94488"/>
                </a:lnTo>
                <a:lnTo>
                  <a:pt x="109346" y="74549"/>
                </a:lnTo>
                <a:close/>
              </a:path>
              <a:path w="213360" h="193039">
                <a:moveTo>
                  <a:pt x="150749" y="74549"/>
                </a:moveTo>
                <a:lnTo>
                  <a:pt x="144399" y="74549"/>
                </a:lnTo>
                <a:lnTo>
                  <a:pt x="146431" y="94488"/>
                </a:lnTo>
                <a:lnTo>
                  <a:pt x="153924" y="94488"/>
                </a:lnTo>
                <a:lnTo>
                  <a:pt x="150749" y="74549"/>
                </a:lnTo>
                <a:close/>
              </a:path>
              <a:path w="213360" h="193039">
                <a:moveTo>
                  <a:pt x="200973" y="74549"/>
                </a:moveTo>
                <a:lnTo>
                  <a:pt x="184784" y="74549"/>
                </a:lnTo>
                <a:lnTo>
                  <a:pt x="191007" y="94488"/>
                </a:lnTo>
                <a:lnTo>
                  <a:pt x="207587" y="94488"/>
                </a:lnTo>
                <a:lnTo>
                  <a:pt x="200973" y="74549"/>
                </a:lnTo>
                <a:close/>
              </a:path>
              <a:path w="213360" h="193039">
                <a:moveTo>
                  <a:pt x="73278" y="43815"/>
                </a:moveTo>
                <a:lnTo>
                  <a:pt x="65912" y="43815"/>
                </a:lnTo>
                <a:lnTo>
                  <a:pt x="63626" y="65151"/>
                </a:lnTo>
                <a:lnTo>
                  <a:pt x="69976" y="65151"/>
                </a:lnTo>
                <a:lnTo>
                  <a:pt x="73278" y="43815"/>
                </a:lnTo>
                <a:close/>
              </a:path>
              <a:path w="213360" h="193039">
                <a:moveTo>
                  <a:pt x="109346" y="43815"/>
                </a:moveTo>
                <a:lnTo>
                  <a:pt x="102996" y="43815"/>
                </a:lnTo>
                <a:lnTo>
                  <a:pt x="102996" y="65151"/>
                </a:lnTo>
                <a:lnTo>
                  <a:pt x="109346" y="65151"/>
                </a:lnTo>
                <a:lnTo>
                  <a:pt x="109346" y="43815"/>
                </a:lnTo>
                <a:close/>
              </a:path>
              <a:path w="213360" h="193039">
                <a:moveTo>
                  <a:pt x="146431" y="43815"/>
                </a:moveTo>
                <a:lnTo>
                  <a:pt x="140081" y="43815"/>
                </a:lnTo>
                <a:lnTo>
                  <a:pt x="142239" y="65151"/>
                </a:lnTo>
                <a:lnTo>
                  <a:pt x="149732" y="65151"/>
                </a:lnTo>
                <a:lnTo>
                  <a:pt x="146431" y="43815"/>
                </a:lnTo>
                <a:close/>
              </a:path>
              <a:path w="213360" h="193039">
                <a:moveTo>
                  <a:pt x="190777" y="43815"/>
                </a:moveTo>
                <a:lnTo>
                  <a:pt x="176275" y="43815"/>
                </a:lnTo>
                <a:lnTo>
                  <a:pt x="182499" y="65151"/>
                </a:lnTo>
                <a:lnTo>
                  <a:pt x="197855" y="65151"/>
                </a:lnTo>
                <a:lnTo>
                  <a:pt x="190777" y="43815"/>
                </a:lnTo>
                <a:close/>
              </a:path>
              <a:path w="213360" h="193039">
                <a:moveTo>
                  <a:pt x="75437" y="0"/>
                </a:moveTo>
                <a:lnTo>
                  <a:pt x="53086" y="0"/>
                </a:lnTo>
                <a:lnTo>
                  <a:pt x="53086" y="31877"/>
                </a:lnTo>
                <a:lnTo>
                  <a:pt x="75437" y="31877"/>
                </a:lnTo>
                <a:lnTo>
                  <a:pt x="75437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205479" y="399795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20">
                <a:moveTo>
                  <a:pt x="0" y="274319"/>
                </a:moveTo>
                <a:lnTo>
                  <a:pt x="447040" y="274319"/>
                </a:lnTo>
                <a:lnTo>
                  <a:pt x="447040" y="0"/>
                </a:lnTo>
                <a:lnTo>
                  <a:pt x="0" y="0"/>
                </a:lnTo>
                <a:lnTo>
                  <a:pt x="0" y="2743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205479" y="399795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20">
                <a:moveTo>
                  <a:pt x="0" y="274319"/>
                </a:moveTo>
                <a:lnTo>
                  <a:pt x="447040" y="274319"/>
                </a:lnTo>
                <a:lnTo>
                  <a:pt x="447040" y="0"/>
                </a:lnTo>
                <a:lnTo>
                  <a:pt x="0" y="0"/>
                </a:lnTo>
                <a:lnTo>
                  <a:pt x="0" y="274319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312160" y="4033520"/>
            <a:ext cx="213360" cy="193040"/>
          </a:xfrm>
          <a:custGeom>
            <a:avLst/>
            <a:gdLst/>
            <a:ahLst/>
            <a:cxnLst/>
            <a:rect l="l" t="t" r="r" b="b"/>
            <a:pathLst>
              <a:path w="213360" h="193039">
                <a:moveTo>
                  <a:pt x="186816" y="111886"/>
                </a:moveTo>
                <a:lnTo>
                  <a:pt x="26542" y="111886"/>
                </a:lnTo>
                <a:lnTo>
                  <a:pt x="26542" y="193039"/>
                </a:lnTo>
                <a:lnTo>
                  <a:pt x="186816" y="193039"/>
                </a:lnTo>
                <a:lnTo>
                  <a:pt x="186816" y="111886"/>
                </a:lnTo>
                <a:close/>
              </a:path>
              <a:path w="213360" h="193039">
                <a:moveTo>
                  <a:pt x="186816" y="31876"/>
                </a:moveTo>
                <a:lnTo>
                  <a:pt x="26542" y="31876"/>
                </a:lnTo>
                <a:lnTo>
                  <a:pt x="0" y="111886"/>
                </a:lnTo>
                <a:lnTo>
                  <a:pt x="213359" y="111886"/>
                </a:lnTo>
                <a:lnTo>
                  <a:pt x="207587" y="94487"/>
                </a:lnTo>
                <a:lnTo>
                  <a:pt x="22351" y="94487"/>
                </a:lnTo>
                <a:lnTo>
                  <a:pt x="27558" y="74548"/>
                </a:lnTo>
                <a:lnTo>
                  <a:pt x="200973" y="74548"/>
                </a:lnTo>
                <a:lnTo>
                  <a:pt x="197855" y="65150"/>
                </a:lnTo>
                <a:lnTo>
                  <a:pt x="30860" y="65150"/>
                </a:lnTo>
                <a:lnTo>
                  <a:pt x="37083" y="43814"/>
                </a:lnTo>
                <a:lnTo>
                  <a:pt x="190777" y="43814"/>
                </a:lnTo>
                <a:lnTo>
                  <a:pt x="186816" y="31876"/>
                </a:lnTo>
                <a:close/>
              </a:path>
              <a:path w="213360" h="193039">
                <a:moveTo>
                  <a:pt x="68960" y="74548"/>
                </a:moveTo>
                <a:lnTo>
                  <a:pt x="61594" y="74548"/>
                </a:lnTo>
                <a:lnTo>
                  <a:pt x="59435" y="94487"/>
                </a:lnTo>
                <a:lnTo>
                  <a:pt x="65912" y="94487"/>
                </a:lnTo>
                <a:lnTo>
                  <a:pt x="68960" y="74548"/>
                </a:lnTo>
                <a:close/>
              </a:path>
              <a:path w="213360" h="193039">
                <a:moveTo>
                  <a:pt x="109346" y="74548"/>
                </a:moveTo>
                <a:lnTo>
                  <a:pt x="102996" y="74548"/>
                </a:lnTo>
                <a:lnTo>
                  <a:pt x="102996" y="94487"/>
                </a:lnTo>
                <a:lnTo>
                  <a:pt x="109346" y="94487"/>
                </a:lnTo>
                <a:lnTo>
                  <a:pt x="109346" y="74548"/>
                </a:lnTo>
                <a:close/>
              </a:path>
              <a:path w="213360" h="193039">
                <a:moveTo>
                  <a:pt x="150748" y="74548"/>
                </a:moveTo>
                <a:lnTo>
                  <a:pt x="144398" y="74548"/>
                </a:lnTo>
                <a:lnTo>
                  <a:pt x="146431" y="94487"/>
                </a:lnTo>
                <a:lnTo>
                  <a:pt x="153923" y="94487"/>
                </a:lnTo>
                <a:lnTo>
                  <a:pt x="150748" y="74548"/>
                </a:lnTo>
                <a:close/>
              </a:path>
              <a:path w="213360" h="193039">
                <a:moveTo>
                  <a:pt x="200973" y="74548"/>
                </a:moveTo>
                <a:lnTo>
                  <a:pt x="184784" y="74548"/>
                </a:lnTo>
                <a:lnTo>
                  <a:pt x="191007" y="94487"/>
                </a:lnTo>
                <a:lnTo>
                  <a:pt x="207587" y="94487"/>
                </a:lnTo>
                <a:lnTo>
                  <a:pt x="200973" y="74548"/>
                </a:lnTo>
                <a:close/>
              </a:path>
              <a:path w="213360" h="193039">
                <a:moveTo>
                  <a:pt x="73278" y="43814"/>
                </a:moveTo>
                <a:lnTo>
                  <a:pt x="65912" y="43814"/>
                </a:lnTo>
                <a:lnTo>
                  <a:pt x="63626" y="65150"/>
                </a:lnTo>
                <a:lnTo>
                  <a:pt x="69976" y="65150"/>
                </a:lnTo>
                <a:lnTo>
                  <a:pt x="73278" y="43814"/>
                </a:lnTo>
                <a:close/>
              </a:path>
              <a:path w="213360" h="193039">
                <a:moveTo>
                  <a:pt x="109346" y="43814"/>
                </a:moveTo>
                <a:lnTo>
                  <a:pt x="102996" y="43814"/>
                </a:lnTo>
                <a:lnTo>
                  <a:pt x="102996" y="65150"/>
                </a:lnTo>
                <a:lnTo>
                  <a:pt x="109346" y="65150"/>
                </a:lnTo>
                <a:lnTo>
                  <a:pt x="109346" y="43814"/>
                </a:lnTo>
                <a:close/>
              </a:path>
              <a:path w="213360" h="193039">
                <a:moveTo>
                  <a:pt x="146431" y="43814"/>
                </a:moveTo>
                <a:lnTo>
                  <a:pt x="140081" y="43814"/>
                </a:lnTo>
                <a:lnTo>
                  <a:pt x="142239" y="65150"/>
                </a:lnTo>
                <a:lnTo>
                  <a:pt x="149732" y="65150"/>
                </a:lnTo>
                <a:lnTo>
                  <a:pt x="146431" y="43814"/>
                </a:lnTo>
                <a:close/>
              </a:path>
              <a:path w="213360" h="193039">
                <a:moveTo>
                  <a:pt x="190777" y="43814"/>
                </a:moveTo>
                <a:lnTo>
                  <a:pt x="176275" y="43814"/>
                </a:lnTo>
                <a:lnTo>
                  <a:pt x="182498" y="65150"/>
                </a:lnTo>
                <a:lnTo>
                  <a:pt x="197855" y="65150"/>
                </a:lnTo>
                <a:lnTo>
                  <a:pt x="190777" y="43814"/>
                </a:lnTo>
                <a:close/>
              </a:path>
              <a:path w="213360" h="193039">
                <a:moveTo>
                  <a:pt x="75437" y="0"/>
                </a:moveTo>
                <a:lnTo>
                  <a:pt x="53085" y="0"/>
                </a:lnTo>
                <a:lnTo>
                  <a:pt x="53085" y="31876"/>
                </a:lnTo>
                <a:lnTo>
                  <a:pt x="75437" y="31876"/>
                </a:lnTo>
                <a:lnTo>
                  <a:pt x="75437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205479" y="3550920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20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205479" y="3550920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20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ln w="12699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312160" y="3586479"/>
            <a:ext cx="213360" cy="193040"/>
          </a:xfrm>
          <a:custGeom>
            <a:avLst/>
            <a:gdLst/>
            <a:ahLst/>
            <a:cxnLst/>
            <a:rect l="l" t="t" r="r" b="b"/>
            <a:pathLst>
              <a:path w="213360" h="193039">
                <a:moveTo>
                  <a:pt x="186689" y="112649"/>
                </a:moveTo>
                <a:lnTo>
                  <a:pt x="26669" y="112649"/>
                </a:lnTo>
                <a:lnTo>
                  <a:pt x="26669" y="193040"/>
                </a:lnTo>
                <a:lnTo>
                  <a:pt x="186689" y="193040"/>
                </a:lnTo>
                <a:lnTo>
                  <a:pt x="186689" y="173990"/>
                </a:lnTo>
                <a:lnTo>
                  <a:pt x="127634" y="173990"/>
                </a:lnTo>
                <a:lnTo>
                  <a:pt x="127634" y="144780"/>
                </a:lnTo>
                <a:lnTo>
                  <a:pt x="48640" y="144780"/>
                </a:lnTo>
                <a:lnTo>
                  <a:pt x="48640" y="114046"/>
                </a:lnTo>
                <a:lnTo>
                  <a:pt x="186689" y="114046"/>
                </a:lnTo>
                <a:lnTo>
                  <a:pt x="186689" y="112649"/>
                </a:lnTo>
                <a:close/>
              </a:path>
              <a:path w="213360" h="193039">
                <a:moveTo>
                  <a:pt x="186689" y="114046"/>
                </a:moveTo>
                <a:lnTo>
                  <a:pt x="160019" y="114046"/>
                </a:lnTo>
                <a:lnTo>
                  <a:pt x="160019" y="173990"/>
                </a:lnTo>
                <a:lnTo>
                  <a:pt x="186689" y="173990"/>
                </a:lnTo>
                <a:lnTo>
                  <a:pt x="186689" y="114046"/>
                </a:lnTo>
                <a:close/>
              </a:path>
              <a:path w="213360" h="193039">
                <a:moveTo>
                  <a:pt x="127634" y="114046"/>
                </a:moveTo>
                <a:lnTo>
                  <a:pt x="103123" y="114046"/>
                </a:lnTo>
                <a:lnTo>
                  <a:pt x="103123" y="144780"/>
                </a:lnTo>
                <a:lnTo>
                  <a:pt x="127634" y="144780"/>
                </a:lnTo>
                <a:lnTo>
                  <a:pt x="127634" y="114046"/>
                </a:lnTo>
                <a:close/>
              </a:path>
              <a:path w="213360" h="193039">
                <a:moveTo>
                  <a:pt x="186689" y="32131"/>
                </a:moveTo>
                <a:lnTo>
                  <a:pt x="26669" y="32131"/>
                </a:lnTo>
                <a:lnTo>
                  <a:pt x="0" y="112649"/>
                </a:lnTo>
                <a:lnTo>
                  <a:pt x="213359" y="112649"/>
                </a:lnTo>
                <a:lnTo>
                  <a:pt x="186689" y="32131"/>
                </a:lnTo>
                <a:close/>
              </a:path>
              <a:path w="213360" h="193039">
                <a:moveTo>
                  <a:pt x="76453" y="0"/>
                </a:moveTo>
                <a:lnTo>
                  <a:pt x="53339" y="0"/>
                </a:lnTo>
                <a:lnTo>
                  <a:pt x="53339" y="32131"/>
                </a:lnTo>
                <a:lnTo>
                  <a:pt x="76453" y="32131"/>
                </a:lnTo>
                <a:lnTo>
                  <a:pt x="76453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 txBox="1"/>
          <p:nvPr/>
        </p:nvSpPr>
        <p:spPr>
          <a:xfrm>
            <a:off x="2524760" y="2585720"/>
            <a:ext cx="172720" cy="11734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33020">
              <a:spcBef>
                <a:spcPts val="75"/>
              </a:spcBef>
            </a:pPr>
            <a:r>
              <a:rPr sz="700" b="1" spc="15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2910839" y="2280920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19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2910839" y="2280920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39" h="274319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027680" y="2316479"/>
            <a:ext cx="213360" cy="193040"/>
          </a:xfrm>
          <a:custGeom>
            <a:avLst/>
            <a:gdLst/>
            <a:ahLst/>
            <a:cxnLst/>
            <a:rect l="l" t="t" r="r" b="b"/>
            <a:pathLst>
              <a:path w="213360" h="193039">
                <a:moveTo>
                  <a:pt x="186689" y="112649"/>
                </a:moveTo>
                <a:lnTo>
                  <a:pt x="26669" y="112649"/>
                </a:lnTo>
                <a:lnTo>
                  <a:pt x="26669" y="193040"/>
                </a:lnTo>
                <a:lnTo>
                  <a:pt x="186689" y="193040"/>
                </a:lnTo>
                <a:lnTo>
                  <a:pt x="186689" y="173990"/>
                </a:lnTo>
                <a:lnTo>
                  <a:pt x="127634" y="173990"/>
                </a:lnTo>
                <a:lnTo>
                  <a:pt x="127634" y="144780"/>
                </a:lnTo>
                <a:lnTo>
                  <a:pt x="48640" y="144780"/>
                </a:lnTo>
                <a:lnTo>
                  <a:pt x="48640" y="114046"/>
                </a:lnTo>
                <a:lnTo>
                  <a:pt x="186689" y="114046"/>
                </a:lnTo>
                <a:lnTo>
                  <a:pt x="186689" y="112649"/>
                </a:lnTo>
                <a:close/>
              </a:path>
              <a:path w="213360" h="193039">
                <a:moveTo>
                  <a:pt x="186689" y="114046"/>
                </a:moveTo>
                <a:lnTo>
                  <a:pt x="160019" y="114046"/>
                </a:lnTo>
                <a:lnTo>
                  <a:pt x="160019" y="173990"/>
                </a:lnTo>
                <a:lnTo>
                  <a:pt x="186689" y="173990"/>
                </a:lnTo>
                <a:lnTo>
                  <a:pt x="186689" y="114046"/>
                </a:lnTo>
                <a:close/>
              </a:path>
              <a:path w="213360" h="193039">
                <a:moveTo>
                  <a:pt x="127634" y="114046"/>
                </a:moveTo>
                <a:lnTo>
                  <a:pt x="103123" y="114046"/>
                </a:lnTo>
                <a:lnTo>
                  <a:pt x="103123" y="144780"/>
                </a:lnTo>
                <a:lnTo>
                  <a:pt x="127634" y="144780"/>
                </a:lnTo>
                <a:lnTo>
                  <a:pt x="127634" y="114046"/>
                </a:lnTo>
                <a:close/>
              </a:path>
              <a:path w="213360" h="193039">
                <a:moveTo>
                  <a:pt x="186689" y="32131"/>
                </a:moveTo>
                <a:lnTo>
                  <a:pt x="26669" y="32131"/>
                </a:lnTo>
                <a:lnTo>
                  <a:pt x="0" y="112649"/>
                </a:lnTo>
                <a:lnTo>
                  <a:pt x="213359" y="112649"/>
                </a:lnTo>
                <a:lnTo>
                  <a:pt x="186689" y="32131"/>
                </a:lnTo>
                <a:close/>
              </a:path>
              <a:path w="213360" h="193039">
                <a:moveTo>
                  <a:pt x="76453" y="0"/>
                </a:moveTo>
                <a:lnTo>
                  <a:pt x="53339" y="0"/>
                </a:lnTo>
                <a:lnTo>
                  <a:pt x="53339" y="32131"/>
                </a:lnTo>
                <a:lnTo>
                  <a:pt x="76453" y="32131"/>
                </a:lnTo>
                <a:lnTo>
                  <a:pt x="76453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2809239" y="3022600"/>
            <a:ext cx="182880" cy="11734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45720">
              <a:spcBef>
                <a:spcPts val="75"/>
              </a:spcBef>
            </a:pPr>
            <a:r>
              <a:rPr sz="700" b="1" spc="10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2250440" y="3012439"/>
            <a:ext cx="172720" cy="112210"/>
          </a:xfrm>
          <a:prstGeom prst="rect">
            <a:avLst/>
          </a:prstGeom>
        </p:spPr>
        <p:txBody>
          <a:bodyPr vert="horz" wrap="square" lIns="0" tIns="4445" rIns="0" bIns="0" rtlCol="0">
            <a:spAutoFit/>
          </a:bodyPr>
          <a:lstStyle/>
          <a:p>
            <a:pPr marL="23495">
              <a:spcBef>
                <a:spcPts val="35"/>
              </a:spcBef>
            </a:pPr>
            <a:r>
              <a:rPr sz="700" b="1" spc="15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2667000" y="32054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20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2667000" y="32054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20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2773680" y="3428365"/>
            <a:ext cx="213360" cy="0"/>
          </a:xfrm>
          <a:custGeom>
            <a:avLst/>
            <a:gdLst/>
            <a:ahLst/>
            <a:cxnLst/>
            <a:rect l="l" t="t" r="r" b="b"/>
            <a:pathLst>
              <a:path w="213359">
                <a:moveTo>
                  <a:pt x="0" y="0"/>
                </a:moveTo>
                <a:lnTo>
                  <a:pt x="213359" y="0"/>
                </a:lnTo>
              </a:path>
            </a:pathLst>
          </a:custGeom>
          <a:ln w="11429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2779248" y="3323590"/>
            <a:ext cx="0" cy="99060"/>
          </a:xfrm>
          <a:custGeom>
            <a:avLst/>
            <a:gdLst/>
            <a:ahLst/>
            <a:cxnLst/>
            <a:rect l="l" t="t" r="r" b="b"/>
            <a:pathLst>
              <a:path h="99060">
                <a:moveTo>
                  <a:pt x="0" y="0"/>
                </a:moveTo>
                <a:lnTo>
                  <a:pt x="0" y="99060"/>
                </a:lnTo>
              </a:path>
            </a:pathLst>
          </a:custGeom>
          <a:ln w="11137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2773680" y="3304540"/>
            <a:ext cx="213360" cy="0"/>
          </a:xfrm>
          <a:custGeom>
            <a:avLst/>
            <a:gdLst/>
            <a:ahLst/>
            <a:cxnLst/>
            <a:rect l="l" t="t" r="r" b="b"/>
            <a:pathLst>
              <a:path w="213359">
                <a:moveTo>
                  <a:pt x="0" y="0"/>
                </a:moveTo>
                <a:lnTo>
                  <a:pt x="213359" y="0"/>
                </a:lnTo>
              </a:path>
            </a:pathLst>
          </a:custGeom>
          <a:ln w="38100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2982086" y="3323464"/>
            <a:ext cx="0" cy="99695"/>
          </a:xfrm>
          <a:custGeom>
            <a:avLst/>
            <a:gdLst/>
            <a:ahLst/>
            <a:cxnLst/>
            <a:rect l="l" t="t" r="r" b="b"/>
            <a:pathLst>
              <a:path h="99695">
                <a:moveTo>
                  <a:pt x="0" y="0"/>
                </a:moveTo>
                <a:lnTo>
                  <a:pt x="0" y="99313"/>
                </a:lnTo>
              </a:path>
            </a:pathLst>
          </a:custGeom>
          <a:ln w="9906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2824480" y="3392233"/>
            <a:ext cx="7620" cy="0"/>
          </a:xfrm>
          <a:custGeom>
            <a:avLst/>
            <a:gdLst/>
            <a:ahLst/>
            <a:cxnLst/>
            <a:rect l="l" t="t" r="r" b="b"/>
            <a:pathLst>
              <a:path w="7619">
                <a:moveTo>
                  <a:pt x="0" y="0"/>
                </a:moveTo>
                <a:lnTo>
                  <a:pt x="7492" y="0"/>
                </a:lnTo>
              </a:path>
            </a:pathLst>
          </a:custGeom>
          <a:ln w="15366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809748" y="3379533"/>
            <a:ext cx="37465" cy="0"/>
          </a:xfrm>
          <a:custGeom>
            <a:avLst/>
            <a:gdLst/>
            <a:ahLst/>
            <a:cxnLst/>
            <a:rect l="l" t="t" r="r" b="b"/>
            <a:pathLst>
              <a:path w="37465">
                <a:moveTo>
                  <a:pt x="0" y="0"/>
                </a:moveTo>
                <a:lnTo>
                  <a:pt x="37084" y="0"/>
                </a:lnTo>
              </a:path>
            </a:pathLst>
          </a:custGeom>
          <a:ln w="10033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2913762" y="3379533"/>
            <a:ext cx="37465" cy="0"/>
          </a:xfrm>
          <a:custGeom>
            <a:avLst/>
            <a:gdLst/>
            <a:ahLst/>
            <a:cxnLst/>
            <a:rect l="l" t="t" r="r" b="b"/>
            <a:pathLst>
              <a:path w="37465">
                <a:moveTo>
                  <a:pt x="0" y="0"/>
                </a:moveTo>
                <a:lnTo>
                  <a:pt x="37210" y="0"/>
                </a:lnTo>
              </a:path>
            </a:pathLst>
          </a:custGeom>
          <a:ln w="10033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2824480" y="3366706"/>
            <a:ext cx="7620" cy="0"/>
          </a:xfrm>
          <a:custGeom>
            <a:avLst/>
            <a:gdLst/>
            <a:ahLst/>
            <a:cxnLst/>
            <a:rect l="l" t="t" r="r" b="b"/>
            <a:pathLst>
              <a:path w="7619">
                <a:moveTo>
                  <a:pt x="0" y="0"/>
                </a:moveTo>
                <a:lnTo>
                  <a:pt x="7492" y="0"/>
                </a:lnTo>
              </a:path>
            </a:pathLst>
          </a:custGeom>
          <a:ln w="15620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2807081" y="3276790"/>
            <a:ext cx="42545" cy="0"/>
          </a:xfrm>
          <a:custGeom>
            <a:avLst/>
            <a:gdLst/>
            <a:ahLst/>
            <a:cxnLst/>
            <a:rect l="l" t="t" r="r" b="b"/>
            <a:pathLst>
              <a:path w="42544">
                <a:moveTo>
                  <a:pt x="0" y="0"/>
                </a:moveTo>
                <a:lnTo>
                  <a:pt x="42290" y="0"/>
                </a:lnTo>
              </a:path>
            </a:pathLst>
          </a:custGeom>
          <a:ln w="17145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2912618" y="3276790"/>
            <a:ext cx="41275" cy="0"/>
          </a:xfrm>
          <a:custGeom>
            <a:avLst/>
            <a:gdLst/>
            <a:ahLst/>
            <a:cxnLst/>
            <a:rect l="l" t="t" r="r" b="b"/>
            <a:pathLst>
              <a:path w="41275">
                <a:moveTo>
                  <a:pt x="0" y="0"/>
                </a:moveTo>
                <a:lnTo>
                  <a:pt x="40893" y="0"/>
                </a:lnTo>
              </a:path>
            </a:pathLst>
          </a:custGeom>
          <a:ln w="17145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2822066" y="3259709"/>
            <a:ext cx="12700" cy="0"/>
          </a:xfrm>
          <a:custGeom>
            <a:avLst/>
            <a:gdLst/>
            <a:ahLst/>
            <a:cxnLst/>
            <a:rect l="l" t="t" r="r" b="b"/>
            <a:pathLst>
              <a:path w="12700">
                <a:moveTo>
                  <a:pt x="0" y="0"/>
                </a:moveTo>
                <a:lnTo>
                  <a:pt x="12319" y="0"/>
                </a:lnTo>
              </a:path>
            </a:pathLst>
          </a:custGeom>
          <a:ln w="17017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2927477" y="3259709"/>
            <a:ext cx="11430" cy="0"/>
          </a:xfrm>
          <a:custGeom>
            <a:avLst/>
            <a:gdLst/>
            <a:ahLst/>
            <a:cxnLst/>
            <a:rect l="l" t="t" r="r" b="b"/>
            <a:pathLst>
              <a:path w="11430">
                <a:moveTo>
                  <a:pt x="0" y="0"/>
                </a:moveTo>
                <a:lnTo>
                  <a:pt x="11175" y="0"/>
                </a:lnTo>
              </a:path>
            </a:pathLst>
          </a:custGeom>
          <a:ln w="17017">
            <a:solidFill>
              <a:srgbClr val="505A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967479" y="2402839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solidFill>
            <a:srgbClr val="AAB4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967479" y="2402839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4535972" y="2305843"/>
            <a:ext cx="1474470" cy="1146810"/>
          </a:xfrm>
          <a:custGeom>
            <a:avLst/>
            <a:gdLst/>
            <a:ahLst/>
            <a:cxnLst/>
            <a:rect l="l" t="t" r="r" b="b"/>
            <a:pathLst>
              <a:path w="1474470" h="1146810">
                <a:moveTo>
                  <a:pt x="944141" y="1038828"/>
                </a:moveTo>
                <a:lnTo>
                  <a:pt x="562442" y="1038828"/>
                </a:lnTo>
                <a:lnTo>
                  <a:pt x="587304" y="1071760"/>
                </a:lnTo>
                <a:lnTo>
                  <a:pt x="616845" y="1099502"/>
                </a:lnTo>
                <a:lnTo>
                  <a:pt x="650364" y="1121481"/>
                </a:lnTo>
                <a:lnTo>
                  <a:pt x="687156" y="1137126"/>
                </a:lnTo>
                <a:lnTo>
                  <a:pt x="732952" y="1146683"/>
                </a:lnTo>
                <a:lnTo>
                  <a:pt x="778225" y="1146361"/>
                </a:lnTo>
                <a:lnTo>
                  <a:pt x="821822" y="1136818"/>
                </a:lnTo>
                <a:lnTo>
                  <a:pt x="862590" y="1118711"/>
                </a:lnTo>
                <a:lnTo>
                  <a:pt x="899376" y="1092698"/>
                </a:lnTo>
                <a:lnTo>
                  <a:pt x="931026" y="1059437"/>
                </a:lnTo>
                <a:lnTo>
                  <a:pt x="944141" y="1038828"/>
                </a:lnTo>
                <a:close/>
              </a:path>
              <a:path w="1474470" h="1146810">
                <a:moveTo>
                  <a:pt x="368993" y="100230"/>
                </a:moveTo>
                <a:lnTo>
                  <a:pt x="330667" y="102330"/>
                </a:lnTo>
                <a:lnTo>
                  <a:pt x="285281" y="113879"/>
                </a:lnTo>
                <a:lnTo>
                  <a:pt x="244235" y="134165"/>
                </a:lnTo>
                <a:lnTo>
                  <a:pt x="208321" y="162081"/>
                </a:lnTo>
                <a:lnTo>
                  <a:pt x="178330" y="196516"/>
                </a:lnTo>
                <a:lnTo>
                  <a:pt x="155055" y="236363"/>
                </a:lnTo>
                <a:lnTo>
                  <a:pt x="139286" y="280513"/>
                </a:lnTo>
                <a:lnTo>
                  <a:pt x="131816" y="327856"/>
                </a:lnTo>
                <a:lnTo>
                  <a:pt x="133436" y="377285"/>
                </a:lnTo>
                <a:lnTo>
                  <a:pt x="132166" y="380841"/>
                </a:lnTo>
                <a:lnTo>
                  <a:pt x="67221" y="405177"/>
                </a:lnTo>
                <a:lnTo>
                  <a:pt x="19517" y="458184"/>
                </a:lnTo>
                <a:lnTo>
                  <a:pt x="2397" y="505353"/>
                </a:lnTo>
                <a:lnTo>
                  <a:pt x="0" y="554112"/>
                </a:lnTo>
                <a:lnTo>
                  <a:pt x="11470" y="600903"/>
                </a:lnTo>
                <a:lnTo>
                  <a:pt x="35956" y="642165"/>
                </a:lnTo>
                <a:lnTo>
                  <a:pt x="72603" y="674338"/>
                </a:lnTo>
                <a:lnTo>
                  <a:pt x="53114" y="701790"/>
                </a:lnTo>
                <a:lnTo>
                  <a:pt x="39853" y="732694"/>
                </a:lnTo>
                <a:lnTo>
                  <a:pt x="33187" y="765885"/>
                </a:lnTo>
                <a:lnTo>
                  <a:pt x="33487" y="800195"/>
                </a:lnTo>
                <a:lnTo>
                  <a:pt x="46474" y="848614"/>
                </a:lnTo>
                <a:lnTo>
                  <a:pt x="72190" y="888877"/>
                </a:lnTo>
                <a:lnTo>
                  <a:pt x="107910" y="918710"/>
                </a:lnTo>
                <a:lnTo>
                  <a:pt x="150908" y="935839"/>
                </a:lnTo>
                <a:lnTo>
                  <a:pt x="198460" y="937990"/>
                </a:lnTo>
                <a:lnTo>
                  <a:pt x="199349" y="939768"/>
                </a:lnTo>
                <a:lnTo>
                  <a:pt x="229240" y="983900"/>
                </a:lnTo>
                <a:lnTo>
                  <a:pt x="262648" y="1017816"/>
                </a:lnTo>
                <a:lnTo>
                  <a:pt x="300455" y="1044547"/>
                </a:lnTo>
                <a:lnTo>
                  <a:pt x="341640" y="1063822"/>
                </a:lnTo>
                <a:lnTo>
                  <a:pt x="385179" y="1075368"/>
                </a:lnTo>
                <a:lnTo>
                  <a:pt x="430051" y="1078913"/>
                </a:lnTo>
                <a:lnTo>
                  <a:pt x="475234" y="1074186"/>
                </a:lnTo>
                <a:lnTo>
                  <a:pt x="519705" y="1060915"/>
                </a:lnTo>
                <a:lnTo>
                  <a:pt x="562442" y="1038828"/>
                </a:lnTo>
                <a:lnTo>
                  <a:pt x="944141" y="1038828"/>
                </a:lnTo>
                <a:lnTo>
                  <a:pt x="956386" y="1019587"/>
                </a:lnTo>
                <a:lnTo>
                  <a:pt x="974303" y="973804"/>
                </a:lnTo>
                <a:lnTo>
                  <a:pt x="1180936" y="973804"/>
                </a:lnTo>
                <a:lnTo>
                  <a:pt x="1231714" y="928448"/>
                </a:lnTo>
                <a:lnTo>
                  <a:pt x="1255299" y="889814"/>
                </a:lnTo>
                <a:lnTo>
                  <a:pt x="1270476" y="845927"/>
                </a:lnTo>
                <a:lnTo>
                  <a:pt x="1276055" y="798036"/>
                </a:lnTo>
                <a:lnTo>
                  <a:pt x="1305049" y="791585"/>
                </a:lnTo>
                <a:lnTo>
                  <a:pt x="1359369" y="767300"/>
                </a:lnTo>
                <a:lnTo>
                  <a:pt x="1418082" y="715752"/>
                </a:lnTo>
                <a:lnTo>
                  <a:pt x="1444284" y="676417"/>
                </a:lnTo>
                <a:lnTo>
                  <a:pt x="1462441" y="633154"/>
                </a:lnTo>
                <a:lnTo>
                  <a:pt x="1472381" y="587343"/>
                </a:lnTo>
                <a:lnTo>
                  <a:pt x="1473933" y="540365"/>
                </a:lnTo>
                <a:lnTo>
                  <a:pt x="1466926" y="493601"/>
                </a:lnTo>
                <a:lnTo>
                  <a:pt x="1451189" y="448433"/>
                </a:lnTo>
                <a:lnTo>
                  <a:pt x="1426550" y="406241"/>
                </a:lnTo>
                <a:lnTo>
                  <a:pt x="1428931" y="400004"/>
                </a:lnTo>
                <a:lnTo>
                  <a:pt x="1431122" y="393684"/>
                </a:lnTo>
                <a:lnTo>
                  <a:pt x="1433122" y="387292"/>
                </a:lnTo>
                <a:lnTo>
                  <a:pt x="1434932" y="380841"/>
                </a:lnTo>
                <a:lnTo>
                  <a:pt x="1441325" y="329454"/>
                </a:lnTo>
                <a:lnTo>
                  <a:pt x="1435026" y="279796"/>
                </a:lnTo>
                <a:lnTo>
                  <a:pt x="1417247" y="234124"/>
                </a:lnTo>
                <a:lnTo>
                  <a:pt x="1389202" y="194696"/>
                </a:lnTo>
                <a:lnTo>
                  <a:pt x="1352106" y="163771"/>
                </a:lnTo>
                <a:lnTo>
                  <a:pt x="1307170" y="143605"/>
                </a:lnTo>
                <a:lnTo>
                  <a:pt x="1304627" y="133699"/>
                </a:lnTo>
                <a:lnTo>
                  <a:pt x="478114" y="133699"/>
                </a:lnTo>
                <a:lnTo>
                  <a:pt x="443502" y="116081"/>
                </a:lnTo>
                <a:lnTo>
                  <a:pt x="406867" y="104870"/>
                </a:lnTo>
                <a:lnTo>
                  <a:pt x="368993" y="100230"/>
                </a:lnTo>
                <a:close/>
              </a:path>
              <a:path w="1474470" h="1146810">
                <a:moveTo>
                  <a:pt x="1180936" y="973804"/>
                </a:moveTo>
                <a:lnTo>
                  <a:pt x="974303" y="973804"/>
                </a:lnTo>
                <a:lnTo>
                  <a:pt x="998270" y="987282"/>
                </a:lnTo>
                <a:lnTo>
                  <a:pt x="1023642" y="997140"/>
                </a:lnTo>
                <a:lnTo>
                  <a:pt x="1050062" y="1003236"/>
                </a:lnTo>
                <a:lnTo>
                  <a:pt x="1077173" y="1005427"/>
                </a:lnTo>
                <a:lnTo>
                  <a:pt x="1122453" y="1000317"/>
                </a:lnTo>
                <a:lnTo>
                  <a:pt x="1164099" y="984950"/>
                </a:lnTo>
                <a:lnTo>
                  <a:pt x="1180936" y="973804"/>
                </a:lnTo>
                <a:close/>
              </a:path>
              <a:path w="1474470" h="1146810">
                <a:moveTo>
                  <a:pt x="631313" y="31252"/>
                </a:moveTo>
                <a:lnTo>
                  <a:pt x="585476" y="39592"/>
                </a:lnTo>
                <a:lnTo>
                  <a:pt x="543100" y="59954"/>
                </a:lnTo>
                <a:lnTo>
                  <a:pt x="506531" y="91577"/>
                </a:lnTo>
                <a:lnTo>
                  <a:pt x="478114" y="133699"/>
                </a:lnTo>
                <a:lnTo>
                  <a:pt x="1304627" y="133699"/>
                </a:lnTo>
                <a:lnTo>
                  <a:pt x="1299671" y="114391"/>
                </a:lnTo>
                <a:lnTo>
                  <a:pt x="1287659" y="87153"/>
                </a:lnTo>
                <a:lnTo>
                  <a:pt x="1287284" y="86582"/>
                </a:lnTo>
                <a:lnTo>
                  <a:pt x="766277" y="86582"/>
                </a:lnTo>
                <a:lnTo>
                  <a:pt x="756544" y="77156"/>
                </a:lnTo>
                <a:lnTo>
                  <a:pt x="746227" y="68516"/>
                </a:lnTo>
                <a:lnTo>
                  <a:pt x="735362" y="60686"/>
                </a:lnTo>
                <a:lnTo>
                  <a:pt x="723986" y="53689"/>
                </a:lnTo>
                <a:lnTo>
                  <a:pt x="678265" y="35697"/>
                </a:lnTo>
                <a:lnTo>
                  <a:pt x="631313" y="31252"/>
                </a:lnTo>
                <a:close/>
              </a:path>
              <a:path w="1474470" h="1146810">
                <a:moveTo>
                  <a:pt x="920445" y="665"/>
                </a:moveTo>
                <a:lnTo>
                  <a:pt x="874450" y="1378"/>
                </a:lnTo>
                <a:lnTo>
                  <a:pt x="831230" y="16703"/>
                </a:lnTo>
                <a:lnTo>
                  <a:pt x="794075" y="45489"/>
                </a:lnTo>
                <a:lnTo>
                  <a:pt x="766277" y="86582"/>
                </a:lnTo>
                <a:lnTo>
                  <a:pt x="1287284" y="86582"/>
                </a:lnTo>
                <a:lnTo>
                  <a:pt x="1271433" y="62487"/>
                </a:lnTo>
                <a:lnTo>
                  <a:pt x="1270329" y="61309"/>
                </a:lnTo>
                <a:lnTo>
                  <a:pt x="1017864" y="61309"/>
                </a:lnTo>
                <a:lnTo>
                  <a:pt x="1006765" y="47613"/>
                </a:lnTo>
                <a:lnTo>
                  <a:pt x="994321" y="35369"/>
                </a:lnTo>
                <a:lnTo>
                  <a:pt x="980663" y="24697"/>
                </a:lnTo>
                <a:lnTo>
                  <a:pt x="965921" y="15716"/>
                </a:lnTo>
                <a:lnTo>
                  <a:pt x="920445" y="665"/>
                </a:lnTo>
                <a:close/>
              </a:path>
              <a:path w="1474470" h="1146810">
                <a:moveTo>
                  <a:pt x="1130529" y="0"/>
                </a:moveTo>
                <a:lnTo>
                  <a:pt x="1089106" y="9333"/>
                </a:lnTo>
                <a:lnTo>
                  <a:pt x="1050809" y="29835"/>
                </a:lnTo>
                <a:lnTo>
                  <a:pt x="1017864" y="61309"/>
                </a:lnTo>
                <a:lnTo>
                  <a:pt x="1270329" y="61309"/>
                </a:lnTo>
                <a:lnTo>
                  <a:pt x="1251290" y="40989"/>
                </a:lnTo>
                <a:lnTo>
                  <a:pt x="1213847" y="15630"/>
                </a:lnTo>
                <a:lnTo>
                  <a:pt x="1172851" y="2033"/>
                </a:lnTo>
                <a:lnTo>
                  <a:pt x="113052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4535972" y="2305843"/>
            <a:ext cx="1474470" cy="1146810"/>
          </a:xfrm>
          <a:custGeom>
            <a:avLst/>
            <a:gdLst/>
            <a:ahLst/>
            <a:cxnLst/>
            <a:rect l="l" t="t" r="r" b="b"/>
            <a:pathLst>
              <a:path w="1474470" h="1146810">
                <a:moveTo>
                  <a:pt x="133436" y="377285"/>
                </a:moveTo>
                <a:lnTo>
                  <a:pt x="131816" y="327856"/>
                </a:lnTo>
                <a:lnTo>
                  <a:pt x="139286" y="280513"/>
                </a:lnTo>
                <a:lnTo>
                  <a:pt x="155055" y="236363"/>
                </a:lnTo>
                <a:lnTo>
                  <a:pt x="178330" y="196516"/>
                </a:lnTo>
                <a:lnTo>
                  <a:pt x="208321" y="162081"/>
                </a:lnTo>
                <a:lnTo>
                  <a:pt x="244235" y="134165"/>
                </a:lnTo>
                <a:lnTo>
                  <a:pt x="285281" y="113879"/>
                </a:lnTo>
                <a:lnTo>
                  <a:pt x="330667" y="102330"/>
                </a:lnTo>
                <a:lnTo>
                  <a:pt x="368993" y="100230"/>
                </a:lnTo>
                <a:lnTo>
                  <a:pt x="406867" y="104870"/>
                </a:lnTo>
                <a:lnTo>
                  <a:pt x="443502" y="116081"/>
                </a:lnTo>
                <a:lnTo>
                  <a:pt x="478114" y="133699"/>
                </a:lnTo>
                <a:lnTo>
                  <a:pt x="506531" y="91577"/>
                </a:lnTo>
                <a:lnTo>
                  <a:pt x="543100" y="59954"/>
                </a:lnTo>
                <a:lnTo>
                  <a:pt x="585476" y="39592"/>
                </a:lnTo>
                <a:lnTo>
                  <a:pt x="631313" y="31252"/>
                </a:lnTo>
                <a:lnTo>
                  <a:pt x="678265" y="35697"/>
                </a:lnTo>
                <a:lnTo>
                  <a:pt x="723986" y="53689"/>
                </a:lnTo>
                <a:lnTo>
                  <a:pt x="756544" y="77156"/>
                </a:lnTo>
                <a:lnTo>
                  <a:pt x="766277" y="86582"/>
                </a:lnTo>
                <a:lnTo>
                  <a:pt x="794075" y="45489"/>
                </a:lnTo>
                <a:lnTo>
                  <a:pt x="831230" y="16703"/>
                </a:lnTo>
                <a:lnTo>
                  <a:pt x="874450" y="1378"/>
                </a:lnTo>
                <a:lnTo>
                  <a:pt x="920445" y="665"/>
                </a:lnTo>
                <a:lnTo>
                  <a:pt x="965921" y="15716"/>
                </a:lnTo>
                <a:lnTo>
                  <a:pt x="980663" y="24697"/>
                </a:lnTo>
                <a:lnTo>
                  <a:pt x="994321" y="35369"/>
                </a:lnTo>
                <a:lnTo>
                  <a:pt x="1006765" y="47613"/>
                </a:lnTo>
                <a:lnTo>
                  <a:pt x="1017864" y="61309"/>
                </a:lnTo>
                <a:lnTo>
                  <a:pt x="1050809" y="29835"/>
                </a:lnTo>
                <a:lnTo>
                  <a:pt x="1089106" y="9333"/>
                </a:lnTo>
                <a:lnTo>
                  <a:pt x="1130529" y="0"/>
                </a:lnTo>
                <a:lnTo>
                  <a:pt x="1172851" y="2033"/>
                </a:lnTo>
                <a:lnTo>
                  <a:pt x="1213847" y="15630"/>
                </a:lnTo>
                <a:lnTo>
                  <a:pt x="1251290" y="40989"/>
                </a:lnTo>
                <a:lnTo>
                  <a:pt x="1287659" y="87153"/>
                </a:lnTo>
                <a:lnTo>
                  <a:pt x="1307170" y="143605"/>
                </a:lnTo>
                <a:lnTo>
                  <a:pt x="1352106" y="163771"/>
                </a:lnTo>
                <a:lnTo>
                  <a:pt x="1389202" y="194696"/>
                </a:lnTo>
                <a:lnTo>
                  <a:pt x="1417247" y="234124"/>
                </a:lnTo>
                <a:lnTo>
                  <a:pt x="1435026" y="279796"/>
                </a:lnTo>
                <a:lnTo>
                  <a:pt x="1441325" y="329454"/>
                </a:lnTo>
                <a:lnTo>
                  <a:pt x="1434932" y="380841"/>
                </a:lnTo>
                <a:lnTo>
                  <a:pt x="1433122" y="387292"/>
                </a:lnTo>
                <a:lnTo>
                  <a:pt x="1431122" y="393684"/>
                </a:lnTo>
                <a:lnTo>
                  <a:pt x="1428931" y="400004"/>
                </a:lnTo>
                <a:lnTo>
                  <a:pt x="1426550" y="406241"/>
                </a:lnTo>
                <a:lnTo>
                  <a:pt x="1451189" y="448433"/>
                </a:lnTo>
                <a:lnTo>
                  <a:pt x="1466926" y="493601"/>
                </a:lnTo>
                <a:lnTo>
                  <a:pt x="1473933" y="540365"/>
                </a:lnTo>
                <a:lnTo>
                  <a:pt x="1472381" y="587343"/>
                </a:lnTo>
                <a:lnTo>
                  <a:pt x="1462441" y="633154"/>
                </a:lnTo>
                <a:lnTo>
                  <a:pt x="1444284" y="676417"/>
                </a:lnTo>
                <a:lnTo>
                  <a:pt x="1418082" y="715752"/>
                </a:lnTo>
                <a:lnTo>
                  <a:pt x="1384005" y="749776"/>
                </a:lnTo>
                <a:lnTo>
                  <a:pt x="1332935" y="781288"/>
                </a:lnTo>
                <a:lnTo>
                  <a:pt x="1276055" y="798036"/>
                </a:lnTo>
                <a:lnTo>
                  <a:pt x="1270476" y="845927"/>
                </a:lnTo>
                <a:lnTo>
                  <a:pt x="1255299" y="889814"/>
                </a:lnTo>
                <a:lnTo>
                  <a:pt x="1231714" y="928448"/>
                </a:lnTo>
                <a:lnTo>
                  <a:pt x="1200917" y="960576"/>
                </a:lnTo>
                <a:lnTo>
                  <a:pt x="1164099" y="984950"/>
                </a:lnTo>
                <a:lnTo>
                  <a:pt x="1122453" y="1000317"/>
                </a:lnTo>
                <a:lnTo>
                  <a:pt x="1077173" y="1005427"/>
                </a:lnTo>
                <a:lnTo>
                  <a:pt x="1050062" y="1003236"/>
                </a:lnTo>
                <a:lnTo>
                  <a:pt x="1023642" y="997140"/>
                </a:lnTo>
                <a:lnTo>
                  <a:pt x="998270" y="987282"/>
                </a:lnTo>
                <a:lnTo>
                  <a:pt x="974303" y="973804"/>
                </a:lnTo>
                <a:lnTo>
                  <a:pt x="956386" y="1019587"/>
                </a:lnTo>
                <a:lnTo>
                  <a:pt x="931026" y="1059437"/>
                </a:lnTo>
                <a:lnTo>
                  <a:pt x="899376" y="1092698"/>
                </a:lnTo>
                <a:lnTo>
                  <a:pt x="862590" y="1118711"/>
                </a:lnTo>
                <a:lnTo>
                  <a:pt x="821822" y="1136818"/>
                </a:lnTo>
                <a:lnTo>
                  <a:pt x="778225" y="1146361"/>
                </a:lnTo>
                <a:lnTo>
                  <a:pt x="732952" y="1146683"/>
                </a:lnTo>
                <a:lnTo>
                  <a:pt x="687156" y="1137126"/>
                </a:lnTo>
                <a:lnTo>
                  <a:pt x="650364" y="1121481"/>
                </a:lnTo>
                <a:lnTo>
                  <a:pt x="616845" y="1099502"/>
                </a:lnTo>
                <a:lnTo>
                  <a:pt x="587304" y="1071760"/>
                </a:lnTo>
                <a:lnTo>
                  <a:pt x="562442" y="1038828"/>
                </a:lnTo>
                <a:lnTo>
                  <a:pt x="519705" y="1060915"/>
                </a:lnTo>
                <a:lnTo>
                  <a:pt x="475234" y="1074186"/>
                </a:lnTo>
                <a:lnTo>
                  <a:pt x="430051" y="1078913"/>
                </a:lnTo>
                <a:lnTo>
                  <a:pt x="385179" y="1075368"/>
                </a:lnTo>
                <a:lnTo>
                  <a:pt x="341640" y="1063822"/>
                </a:lnTo>
                <a:lnTo>
                  <a:pt x="300455" y="1044547"/>
                </a:lnTo>
                <a:lnTo>
                  <a:pt x="262648" y="1017816"/>
                </a:lnTo>
                <a:lnTo>
                  <a:pt x="229240" y="983900"/>
                </a:lnTo>
                <a:lnTo>
                  <a:pt x="201254" y="943070"/>
                </a:lnTo>
                <a:lnTo>
                  <a:pt x="198460" y="937990"/>
                </a:lnTo>
                <a:lnTo>
                  <a:pt x="150908" y="935839"/>
                </a:lnTo>
                <a:lnTo>
                  <a:pt x="107910" y="918710"/>
                </a:lnTo>
                <a:lnTo>
                  <a:pt x="72190" y="888877"/>
                </a:lnTo>
                <a:lnTo>
                  <a:pt x="46474" y="848614"/>
                </a:lnTo>
                <a:lnTo>
                  <a:pt x="33487" y="800195"/>
                </a:lnTo>
                <a:lnTo>
                  <a:pt x="33187" y="765885"/>
                </a:lnTo>
                <a:lnTo>
                  <a:pt x="39853" y="732694"/>
                </a:lnTo>
                <a:lnTo>
                  <a:pt x="53114" y="701790"/>
                </a:lnTo>
                <a:lnTo>
                  <a:pt x="72603" y="674338"/>
                </a:lnTo>
                <a:lnTo>
                  <a:pt x="35956" y="642165"/>
                </a:lnTo>
                <a:lnTo>
                  <a:pt x="11470" y="600903"/>
                </a:lnTo>
                <a:lnTo>
                  <a:pt x="0" y="554112"/>
                </a:lnTo>
                <a:lnTo>
                  <a:pt x="2397" y="505353"/>
                </a:lnTo>
                <a:lnTo>
                  <a:pt x="19517" y="458184"/>
                </a:lnTo>
                <a:lnTo>
                  <a:pt x="67221" y="405177"/>
                </a:lnTo>
                <a:lnTo>
                  <a:pt x="132166" y="380841"/>
                </a:lnTo>
                <a:lnTo>
                  <a:pt x="133436" y="377285"/>
                </a:lnTo>
                <a:close/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4610100" y="2975736"/>
            <a:ext cx="86360" cy="21590"/>
          </a:xfrm>
          <a:custGeom>
            <a:avLst/>
            <a:gdLst/>
            <a:ahLst/>
            <a:cxnLst/>
            <a:rect l="l" t="t" r="r" b="b"/>
            <a:pathLst>
              <a:path w="86360" h="21589">
                <a:moveTo>
                  <a:pt x="86360" y="21209"/>
                </a:moveTo>
                <a:lnTo>
                  <a:pt x="63829" y="21199"/>
                </a:lnTo>
                <a:lnTo>
                  <a:pt x="41656" y="17605"/>
                </a:lnTo>
                <a:lnTo>
                  <a:pt x="20244" y="10511"/>
                </a:lnTo>
                <a:lnTo>
                  <a:pt x="0" y="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4734941" y="3228720"/>
            <a:ext cx="38100" cy="10160"/>
          </a:xfrm>
          <a:custGeom>
            <a:avLst/>
            <a:gdLst/>
            <a:ahLst/>
            <a:cxnLst/>
            <a:rect l="l" t="t" r="r" b="b"/>
            <a:pathLst>
              <a:path w="38100" h="10160">
                <a:moveTo>
                  <a:pt x="37718" y="0"/>
                </a:moveTo>
                <a:lnTo>
                  <a:pt x="28557" y="3498"/>
                </a:lnTo>
                <a:lnTo>
                  <a:pt x="19192" y="6365"/>
                </a:lnTo>
                <a:lnTo>
                  <a:pt x="9661" y="8590"/>
                </a:lnTo>
                <a:lnTo>
                  <a:pt x="0" y="10159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075554" y="3293872"/>
            <a:ext cx="22860" cy="46355"/>
          </a:xfrm>
          <a:custGeom>
            <a:avLst/>
            <a:gdLst/>
            <a:ahLst/>
            <a:cxnLst/>
            <a:rect l="l" t="t" r="r" b="b"/>
            <a:pathLst>
              <a:path w="22860" h="46354">
                <a:moveTo>
                  <a:pt x="22860" y="46227"/>
                </a:moveTo>
                <a:lnTo>
                  <a:pt x="16287" y="35182"/>
                </a:lnTo>
                <a:lnTo>
                  <a:pt x="10287" y="23780"/>
                </a:lnTo>
                <a:lnTo>
                  <a:pt x="4857" y="12045"/>
                </a:lnTo>
                <a:lnTo>
                  <a:pt x="0" y="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510404" y="3224783"/>
            <a:ext cx="9525" cy="50800"/>
          </a:xfrm>
          <a:custGeom>
            <a:avLst/>
            <a:gdLst/>
            <a:ahLst/>
            <a:cxnLst/>
            <a:rect l="l" t="t" r="r" b="b"/>
            <a:pathLst>
              <a:path w="9525" h="50800">
                <a:moveTo>
                  <a:pt x="9144" y="0"/>
                </a:moveTo>
                <a:lnTo>
                  <a:pt x="7786" y="12830"/>
                </a:lnTo>
                <a:lnTo>
                  <a:pt x="5810" y="25590"/>
                </a:lnTo>
                <a:lnTo>
                  <a:pt x="3214" y="38254"/>
                </a:lnTo>
                <a:lnTo>
                  <a:pt x="0" y="5080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5700268" y="2911221"/>
            <a:ext cx="111125" cy="189865"/>
          </a:xfrm>
          <a:custGeom>
            <a:avLst/>
            <a:gdLst/>
            <a:ahLst/>
            <a:cxnLst/>
            <a:rect l="l" t="t" r="r" b="b"/>
            <a:pathLst>
              <a:path w="111125" h="189864">
                <a:moveTo>
                  <a:pt x="0" y="0"/>
                </a:moveTo>
                <a:lnTo>
                  <a:pt x="37828" y="25548"/>
                </a:lnTo>
                <a:lnTo>
                  <a:pt x="68726" y="58814"/>
                </a:lnTo>
                <a:lnTo>
                  <a:pt x="91796" y="98279"/>
                </a:lnTo>
                <a:lnTo>
                  <a:pt x="106143" y="142426"/>
                </a:lnTo>
                <a:lnTo>
                  <a:pt x="110871" y="189737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5912484" y="2709291"/>
            <a:ext cx="49530" cy="71120"/>
          </a:xfrm>
          <a:custGeom>
            <a:avLst/>
            <a:gdLst/>
            <a:ahLst/>
            <a:cxnLst/>
            <a:rect l="l" t="t" r="r" b="b"/>
            <a:pathLst>
              <a:path w="49529" h="71119">
                <a:moveTo>
                  <a:pt x="49402" y="0"/>
                </a:moveTo>
                <a:lnTo>
                  <a:pt x="39969" y="19970"/>
                </a:lnTo>
                <a:lnTo>
                  <a:pt x="28511" y="38608"/>
                </a:lnTo>
                <a:lnTo>
                  <a:pt x="15148" y="55721"/>
                </a:lnTo>
                <a:lnTo>
                  <a:pt x="0" y="7112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843396" y="2445386"/>
            <a:ext cx="2540" cy="33655"/>
          </a:xfrm>
          <a:custGeom>
            <a:avLst/>
            <a:gdLst/>
            <a:ahLst/>
            <a:cxnLst/>
            <a:rect l="l" t="t" r="r" b="b"/>
            <a:pathLst>
              <a:path w="2539" h="33655">
                <a:moveTo>
                  <a:pt x="0" y="0"/>
                </a:moveTo>
                <a:lnTo>
                  <a:pt x="1218" y="8383"/>
                </a:lnTo>
                <a:lnTo>
                  <a:pt x="2031" y="16779"/>
                </a:lnTo>
                <a:lnTo>
                  <a:pt x="2464" y="25199"/>
                </a:lnTo>
                <a:lnTo>
                  <a:pt x="2539" y="33654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528055" y="2363470"/>
            <a:ext cx="25400" cy="43180"/>
          </a:xfrm>
          <a:custGeom>
            <a:avLst/>
            <a:gdLst/>
            <a:ahLst/>
            <a:cxnLst/>
            <a:rect l="l" t="t" r="r" b="b"/>
            <a:pathLst>
              <a:path w="25400" h="43180">
                <a:moveTo>
                  <a:pt x="0" y="42799"/>
                </a:moveTo>
                <a:lnTo>
                  <a:pt x="5234" y="31378"/>
                </a:lnTo>
                <a:lnTo>
                  <a:pt x="11207" y="20399"/>
                </a:lnTo>
                <a:lnTo>
                  <a:pt x="17895" y="9919"/>
                </a:lnTo>
                <a:lnTo>
                  <a:pt x="25273" y="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5291454" y="2389759"/>
            <a:ext cx="12700" cy="37465"/>
          </a:xfrm>
          <a:custGeom>
            <a:avLst/>
            <a:gdLst/>
            <a:ahLst/>
            <a:cxnLst/>
            <a:rect l="l" t="t" r="r" b="b"/>
            <a:pathLst>
              <a:path w="12700" h="37464">
                <a:moveTo>
                  <a:pt x="0" y="36956"/>
                </a:moveTo>
                <a:lnTo>
                  <a:pt x="2264" y="27414"/>
                </a:lnTo>
                <a:lnTo>
                  <a:pt x="5064" y="18049"/>
                </a:lnTo>
                <a:lnTo>
                  <a:pt x="8411" y="8899"/>
                </a:lnTo>
                <a:lnTo>
                  <a:pt x="12319" y="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5013833" y="2439162"/>
            <a:ext cx="44450" cy="36195"/>
          </a:xfrm>
          <a:custGeom>
            <a:avLst/>
            <a:gdLst/>
            <a:ahLst/>
            <a:cxnLst/>
            <a:rect l="l" t="t" r="r" b="b"/>
            <a:pathLst>
              <a:path w="44450" h="36194">
                <a:moveTo>
                  <a:pt x="0" y="0"/>
                </a:moveTo>
                <a:lnTo>
                  <a:pt x="11854" y="7901"/>
                </a:lnTo>
                <a:lnTo>
                  <a:pt x="23209" y="16541"/>
                </a:lnTo>
                <a:lnTo>
                  <a:pt x="34039" y="25896"/>
                </a:lnTo>
                <a:lnTo>
                  <a:pt x="44322" y="3594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669409" y="2683129"/>
            <a:ext cx="8255" cy="38100"/>
          </a:xfrm>
          <a:custGeom>
            <a:avLst/>
            <a:gdLst/>
            <a:ahLst/>
            <a:cxnLst/>
            <a:rect l="l" t="t" r="r" b="b"/>
            <a:pathLst>
              <a:path w="8255" h="38100">
                <a:moveTo>
                  <a:pt x="7747" y="37719"/>
                </a:moveTo>
                <a:lnTo>
                  <a:pt x="5322" y="28432"/>
                </a:lnTo>
                <a:lnTo>
                  <a:pt x="3206" y="19050"/>
                </a:lnTo>
                <a:lnTo>
                  <a:pt x="1424" y="9572"/>
                </a:lnTo>
                <a:lnTo>
                  <a:pt x="0" y="0"/>
                </a:lnTo>
              </a:path>
            </a:pathLst>
          </a:custGeom>
          <a:ln w="1016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 txBox="1"/>
          <p:nvPr/>
        </p:nvSpPr>
        <p:spPr>
          <a:xfrm>
            <a:off x="5040629" y="2780920"/>
            <a:ext cx="341630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850" b="1" spc="-10" dirty="0">
                <a:latin typeface="Arial"/>
                <a:cs typeface="Arial"/>
              </a:rPr>
              <a:t>P</a:t>
            </a:r>
            <a:r>
              <a:rPr sz="850" b="1" spc="-90" dirty="0">
                <a:latin typeface="Arial"/>
                <a:cs typeface="Arial"/>
              </a:rPr>
              <a:t>E</a:t>
            </a:r>
            <a:r>
              <a:rPr sz="850" b="1" spc="30" dirty="0">
                <a:latin typeface="Arial"/>
                <a:cs typeface="Arial"/>
              </a:rPr>
              <a:t>T</a:t>
            </a:r>
            <a:r>
              <a:rPr sz="850" b="1" spc="65" dirty="0">
                <a:latin typeface="Arial"/>
                <a:cs typeface="Arial"/>
              </a:rPr>
              <a:t>r</a:t>
            </a:r>
            <a:r>
              <a:rPr sz="850" b="1" spc="15" dirty="0">
                <a:latin typeface="Arial"/>
                <a:cs typeface="Arial"/>
              </a:rPr>
              <a:t>a</a:t>
            </a:r>
            <a:endParaRPr sz="850">
              <a:latin typeface="Arial"/>
              <a:cs typeface="Arial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2382519" y="22910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19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2382519" y="2291079"/>
            <a:ext cx="447040" cy="274320"/>
          </a:xfrm>
          <a:custGeom>
            <a:avLst/>
            <a:gdLst/>
            <a:ahLst/>
            <a:cxnLst/>
            <a:rect l="l" t="t" r="r" b="b"/>
            <a:pathLst>
              <a:path w="447040" h="274319">
                <a:moveTo>
                  <a:pt x="0" y="274320"/>
                </a:moveTo>
                <a:lnTo>
                  <a:pt x="447040" y="274320"/>
                </a:lnTo>
                <a:lnTo>
                  <a:pt x="447040" y="0"/>
                </a:lnTo>
                <a:lnTo>
                  <a:pt x="0" y="0"/>
                </a:lnTo>
                <a:lnTo>
                  <a:pt x="0" y="274320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2489200" y="2326639"/>
            <a:ext cx="223520" cy="193040"/>
          </a:xfrm>
          <a:custGeom>
            <a:avLst/>
            <a:gdLst/>
            <a:ahLst/>
            <a:cxnLst/>
            <a:rect l="l" t="t" r="r" b="b"/>
            <a:pathLst>
              <a:path w="223519" h="193039">
                <a:moveTo>
                  <a:pt x="195732" y="111887"/>
                </a:moveTo>
                <a:lnTo>
                  <a:pt x="27787" y="111887"/>
                </a:lnTo>
                <a:lnTo>
                  <a:pt x="27787" y="193039"/>
                </a:lnTo>
                <a:lnTo>
                  <a:pt x="195732" y="193039"/>
                </a:lnTo>
                <a:lnTo>
                  <a:pt x="195732" y="111887"/>
                </a:lnTo>
                <a:close/>
              </a:path>
              <a:path w="223519" h="193039">
                <a:moveTo>
                  <a:pt x="195732" y="31876"/>
                </a:moveTo>
                <a:lnTo>
                  <a:pt x="27787" y="31876"/>
                </a:lnTo>
                <a:lnTo>
                  <a:pt x="0" y="111887"/>
                </a:lnTo>
                <a:lnTo>
                  <a:pt x="223519" y="111887"/>
                </a:lnTo>
                <a:lnTo>
                  <a:pt x="217477" y="94487"/>
                </a:lnTo>
                <a:lnTo>
                  <a:pt x="23418" y="94487"/>
                </a:lnTo>
                <a:lnTo>
                  <a:pt x="28879" y="74549"/>
                </a:lnTo>
                <a:lnTo>
                  <a:pt x="210552" y="74549"/>
                </a:lnTo>
                <a:lnTo>
                  <a:pt x="207288" y="65150"/>
                </a:lnTo>
                <a:lnTo>
                  <a:pt x="32308" y="65150"/>
                </a:lnTo>
                <a:lnTo>
                  <a:pt x="38862" y="43814"/>
                </a:lnTo>
                <a:lnTo>
                  <a:pt x="199878" y="43814"/>
                </a:lnTo>
                <a:lnTo>
                  <a:pt x="195732" y="31876"/>
                </a:lnTo>
                <a:close/>
              </a:path>
              <a:path w="223519" h="193039">
                <a:moveTo>
                  <a:pt x="72275" y="74549"/>
                </a:moveTo>
                <a:lnTo>
                  <a:pt x="64465" y="74549"/>
                </a:lnTo>
                <a:lnTo>
                  <a:pt x="62280" y="94487"/>
                </a:lnTo>
                <a:lnTo>
                  <a:pt x="68986" y="94487"/>
                </a:lnTo>
                <a:lnTo>
                  <a:pt x="72275" y="74549"/>
                </a:lnTo>
                <a:close/>
              </a:path>
              <a:path w="223519" h="193039">
                <a:moveTo>
                  <a:pt x="114566" y="74549"/>
                </a:moveTo>
                <a:lnTo>
                  <a:pt x="107861" y="74549"/>
                </a:lnTo>
                <a:lnTo>
                  <a:pt x="107861" y="94487"/>
                </a:lnTo>
                <a:lnTo>
                  <a:pt x="114566" y="94487"/>
                </a:lnTo>
                <a:lnTo>
                  <a:pt x="114566" y="74549"/>
                </a:lnTo>
                <a:close/>
              </a:path>
              <a:path w="223519" h="193039">
                <a:moveTo>
                  <a:pt x="157962" y="74549"/>
                </a:moveTo>
                <a:lnTo>
                  <a:pt x="151244" y="74549"/>
                </a:lnTo>
                <a:lnTo>
                  <a:pt x="153441" y="94487"/>
                </a:lnTo>
                <a:lnTo>
                  <a:pt x="161239" y="94487"/>
                </a:lnTo>
                <a:lnTo>
                  <a:pt x="157962" y="74549"/>
                </a:lnTo>
                <a:close/>
              </a:path>
              <a:path w="223519" h="193039">
                <a:moveTo>
                  <a:pt x="210552" y="74549"/>
                </a:moveTo>
                <a:lnTo>
                  <a:pt x="193547" y="74549"/>
                </a:lnTo>
                <a:lnTo>
                  <a:pt x="200101" y="94487"/>
                </a:lnTo>
                <a:lnTo>
                  <a:pt x="217477" y="94487"/>
                </a:lnTo>
                <a:lnTo>
                  <a:pt x="210552" y="74549"/>
                </a:lnTo>
                <a:close/>
              </a:path>
              <a:path w="223519" h="193039">
                <a:moveTo>
                  <a:pt x="76796" y="43814"/>
                </a:moveTo>
                <a:lnTo>
                  <a:pt x="68986" y="43814"/>
                </a:lnTo>
                <a:lnTo>
                  <a:pt x="66649" y="65150"/>
                </a:lnTo>
                <a:lnTo>
                  <a:pt x="73367" y="65150"/>
                </a:lnTo>
                <a:lnTo>
                  <a:pt x="76796" y="43814"/>
                </a:lnTo>
                <a:close/>
              </a:path>
              <a:path w="223519" h="193039">
                <a:moveTo>
                  <a:pt x="114566" y="43814"/>
                </a:moveTo>
                <a:lnTo>
                  <a:pt x="107861" y="43814"/>
                </a:lnTo>
                <a:lnTo>
                  <a:pt x="107861" y="65150"/>
                </a:lnTo>
                <a:lnTo>
                  <a:pt x="114566" y="65150"/>
                </a:lnTo>
                <a:lnTo>
                  <a:pt x="114566" y="43814"/>
                </a:lnTo>
                <a:close/>
              </a:path>
              <a:path w="223519" h="193039">
                <a:moveTo>
                  <a:pt x="153441" y="43814"/>
                </a:moveTo>
                <a:lnTo>
                  <a:pt x="146723" y="43814"/>
                </a:lnTo>
                <a:lnTo>
                  <a:pt x="149059" y="65150"/>
                </a:lnTo>
                <a:lnTo>
                  <a:pt x="156870" y="65150"/>
                </a:lnTo>
                <a:lnTo>
                  <a:pt x="153441" y="43814"/>
                </a:lnTo>
                <a:close/>
              </a:path>
              <a:path w="223519" h="193039">
                <a:moveTo>
                  <a:pt x="199878" y="43814"/>
                </a:moveTo>
                <a:lnTo>
                  <a:pt x="184658" y="43814"/>
                </a:lnTo>
                <a:lnTo>
                  <a:pt x="191211" y="65150"/>
                </a:lnTo>
                <a:lnTo>
                  <a:pt x="207288" y="65150"/>
                </a:lnTo>
                <a:lnTo>
                  <a:pt x="199878" y="43814"/>
                </a:lnTo>
                <a:close/>
              </a:path>
              <a:path w="223519" h="193039">
                <a:moveTo>
                  <a:pt x="78981" y="0"/>
                </a:moveTo>
                <a:lnTo>
                  <a:pt x="55562" y="0"/>
                </a:lnTo>
                <a:lnTo>
                  <a:pt x="55562" y="31876"/>
                </a:lnTo>
                <a:lnTo>
                  <a:pt x="78981" y="31876"/>
                </a:lnTo>
                <a:lnTo>
                  <a:pt x="78981" y="0"/>
                </a:lnTo>
                <a:close/>
              </a:path>
            </a:pathLst>
          </a:custGeom>
          <a:solidFill>
            <a:srgbClr val="505A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 txBox="1"/>
          <p:nvPr/>
        </p:nvSpPr>
        <p:spPr>
          <a:xfrm>
            <a:off x="3042919" y="2575561"/>
            <a:ext cx="182880" cy="116699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41910">
              <a:spcBef>
                <a:spcPts val="70"/>
              </a:spcBef>
            </a:pPr>
            <a:r>
              <a:rPr sz="700" b="1" spc="15" dirty="0">
                <a:latin typeface="Arial"/>
                <a:cs typeface="Arial"/>
              </a:rPr>
              <a:t>P</a:t>
            </a:r>
            <a:endParaRPr sz="700">
              <a:latin typeface="Arial"/>
              <a:cs typeface="Arial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2077719" y="1569719"/>
            <a:ext cx="1158240" cy="487680"/>
          </a:xfrm>
          <a:custGeom>
            <a:avLst/>
            <a:gdLst/>
            <a:ahLst/>
            <a:cxnLst/>
            <a:rect l="l" t="t" r="r" b="b"/>
            <a:pathLst>
              <a:path w="1158239" h="487680">
                <a:moveTo>
                  <a:pt x="579120" y="0"/>
                </a:moveTo>
                <a:lnTo>
                  <a:pt x="511582" y="1641"/>
                </a:lnTo>
                <a:lnTo>
                  <a:pt x="446333" y="6442"/>
                </a:lnTo>
                <a:lnTo>
                  <a:pt x="383807" y="14220"/>
                </a:lnTo>
                <a:lnTo>
                  <a:pt x="324438" y="24792"/>
                </a:lnTo>
                <a:lnTo>
                  <a:pt x="268661" y="37975"/>
                </a:lnTo>
                <a:lnTo>
                  <a:pt x="216910" y="53584"/>
                </a:lnTo>
                <a:lnTo>
                  <a:pt x="169621" y="71437"/>
                </a:lnTo>
                <a:lnTo>
                  <a:pt x="127226" y="91351"/>
                </a:lnTo>
                <a:lnTo>
                  <a:pt x="90162" y="113142"/>
                </a:lnTo>
                <a:lnTo>
                  <a:pt x="58862" y="136626"/>
                </a:lnTo>
                <a:lnTo>
                  <a:pt x="15295" y="187945"/>
                </a:lnTo>
                <a:lnTo>
                  <a:pt x="0" y="243839"/>
                </a:lnTo>
                <a:lnTo>
                  <a:pt x="3896" y="272267"/>
                </a:lnTo>
                <a:lnTo>
                  <a:pt x="33762" y="326057"/>
                </a:lnTo>
                <a:lnTo>
                  <a:pt x="90162" y="374537"/>
                </a:lnTo>
                <a:lnTo>
                  <a:pt x="127226" y="396328"/>
                </a:lnTo>
                <a:lnTo>
                  <a:pt x="169621" y="416242"/>
                </a:lnTo>
                <a:lnTo>
                  <a:pt x="216910" y="434095"/>
                </a:lnTo>
                <a:lnTo>
                  <a:pt x="268661" y="449704"/>
                </a:lnTo>
                <a:lnTo>
                  <a:pt x="324438" y="462887"/>
                </a:lnTo>
                <a:lnTo>
                  <a:pt x="383807" y="473459"/>
                </a:lnTo>
                <a:lnTo>
                  <a:pt x="446333" y="481237"/>
                </a:lnTo>
                <a:lnTo>
                  <a:pt x="511582" y="486038"/>
                </a:lnTo>
                <a:lnTo>
                  <a:pt x="579120" y="487679"/>
                </a:lnTo>
                <a:lnTo>
                  <a:pt x="646647" y="486038"/>
                </a:lnTo>
                <a:lnTo>
                  <a:pt x="711890" y="481237"/>
                </a:lnTo>
                <a:lnTo>
                  <a:pt x="774412" y="473459"/>
                </a:lnTo>
                <a:lnTo>
                  <a:pt x="833779" y="462887"/>
                </a:lnTo>
                <a:lnTo>
                  <a:pt x="889555" y="449704"/>
                </a:lnTo>
                <a:lnTo>
                  <a:pt x="941307" y="434095"/>
                </a:lnTo>
                <a:lnTo>
                  <a:pt x="988599" y="416242"/>
                </a:lnTo>
                <a:lnTo>
                  <a:pt x="1030997" y="396328"/>
                </a:lnTo>
                <a:lnTo>
                  <a:pt x="1068064" y="374537"/>
                </a:lnTo>
                <a:lnTo>
                  <a:pt x="1099368" y="351053"/>
                </a:lnTo>
                <a:lnTo>
                  <a:pt x="1142942" y="299734"/>
                </a:lnTo>
                <a:lnTo>
                  <a:pt x="1158240" y="243839"/>
                </a:lnTo>
                <a:lnTo>
                  <a:pt x="1154343" y="215412"/>
                </a:lnTo>
                <a:lnTo>
                  <a:pt x="1124472" y="161622"/>
                </a:lnTo>
                <a:lnTo>
                  <a:pt x="1068064" y="113142"/>
                </a:lnTo>
                <a:lnTo>
                  <a:pt x="1030997" y="91351"/>
                </a:lnTo>
                <a:lnTo>
                  <a:pt x="988599" y="71437"/>
                </a:lnTo>
                <a:lnTo>
                  <a:pt x="941307" y="53584"/>
                </a:lnTo>
                <a:lnTo>
                  <a:pt x="889555" y="37975"/>
                </a:lnTo>
                <a:lnTo>
                  <a:pt x="833779" y="24792"/>
                </a:lnTo>
                <a:lnTo>
                  <a:pt x="774412" y="14220"/>
                </a:lnTo>
                <a:lnTo>
                  <a:pt x="711890" y="6442"/>
                </a:lnTo>
                <a:lnTo>
                  <a:pt x="646647" y="1641"/>
                </a:lnTo>
                <a:lnTo>
                  <a:pt x="57912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2077719" y="1569719"/>
            <a:ext cx="1158240" cy="487680"/>
          </a:xfrm>
          <a:custGeom>
            <a:avLst/>
            <a:gdLst/>
            <a:ahLst/>
            <a:cxnLst/>
            <a:rect l="l" t="t" r="r" b="b"/>
            <a:pathLst>
              <a:path w="1158239" h="487680">
                <a:moveTo>
                  <a:pt x="0" y="243839"/>
                </a:moveTo>
                <a:lnTo>
                  <a:pt x="15295" y="187945"/>
                </a:lnTo>
                <a:lnTo>
                  <a:pt x="58862" y="136626"/>
                </a:lnTo>
                <a:lnTo>
                  <a:pt x="90162" y="113142"/>
                </a:lnTo>
                <a:lnTo>
                  <a:pt x="127226" y="91351"/>
                </a:lnTo>
                <a:lnTo>
                  <a:pt x="169621" y="71437"/>
                </a:lnTo>
                <a:lnTo>
                  <a:pt x="216910" y="53584"/>
                </a:lnTo>
                <a:lnTo>
                  <a:pt x="268661" y="37975"/>
                </a:lnTo>
                <a:lnTo>
                  <a:pt x="324438" y="24792"/>
                </a:lnTo>
                <a:lnTo>
                  <a:pt x="383807" y="14220"/>
                </a:lnTo>
                <a:lnTo>
                  <a:pt x="446333" y="6442"/>
                </a:lnTo>
                <a:lnTo>
                  <a:pt x="511582" y="1641"/>
                </a:lnTo>
                <a:lnTo>
                  <a:pt x="579120" y="0"/>
                </a:lnTo>
                <a:lnTo>
                  <a:pt x="646647" y="1641"/>
                </a:lnTo>
                <a:lnTo>
                  <a:pt x="711890" y="6442"/>
                </a:lnTo>
                <a:lnTo>
                  <a:pt x="774412" y="14220"/>
                </a:lnTo>
                <a:lnTo>
                  <a:pt x="833779" y="24792"/>
                </a:lnTo>
                <a:lnTo>
                  <a:pt x="889555" y="37975"/>
                </a:lnTo>
                <a:lnTo>
                  <a:pt x="941307" y="53584"/>
                </a:lnTo>
                <a:lnTo>
                  <a:pt x="988599" y="71437"/>
                </a:lnTo>
                <a:lnTo>
                  <a:pt x="1030997" y="91351"/>
                </a:lnTo>
                <a:lnTo>
                  <a:pt x="1068064" y="113142"/>
                </a:lnTo>
                <a:lnTo>
                  <a:pt x="1099368" y="136626"/>
                </a:lnTo>
                <a:lnTo>
                  <a:pt x="1142942" y="187945"/>
                </a:lnTo>
                <a:lnTo>
                  <a:pt x="1158240" y="243839"/>
                </a:lnTo>
                <a:lnTo>
                  <a:pt x="1154343" y="272267"/>
                </a:lnTo>
                <a:lnTo>
                  <a:pt x="1124472" y="326057"/>
                </a:lnTo>
                <a:lnTo>
                  <a:pt x="1068064" y="374537"/>
                </a:lnTo>
                <a:lnTo>
                  <a:pt x="1030997" y="396328"/>
                </a:lnTo>
                <a:lnTo>
                  <a:pt x="988599" y="416242"/>
                </a:lnTo>
                <a:lnTo>
                  <a:pt x="941307" y="434095"/>
                </a:lnTo>
                <a:lnTo>
                  <a:pt x="889555" y="449704"/>
                </a:lnTo>
                <a:lnTo>
                  <a:pt x="833779" y="462887"/>
                </a:lnTo>
                <a:lnTo>
                  <a:pt x="774412" y="473459"/>
                </a:lnTo>
                <a:lnTo>
                  <a:pt x="711890" y="481237"/>
                </a:lnTo>
                <a:lnTo>
                  <a:pt x="646647" y="486038"/>
                </a:lnTo>
                <a:lnTo>
                  <a:pt x="579120" y="487679"/>
                </a:lnTo>
                <a:lnTo>
                  <a:pt x="511582" y="486038"/>
                </a:lnTo>
                <a:lnTo>
                  <a:pt x="446333" y="481237"/>
                </a:lnTo>
                <a:lnTo>
                  <a:pt x="383807" y="473459"/>
                </a:lnTo>
                <a:lnTo>
                  <a:pt x="324438" y="462887"/>
                </a:lnTo>
                <a:lnTo>
                  <a:pt x="268661" y="449704"/>
                </a:lnTo>
                <a:lnTo>
                  <a:pt x="216910" y="434095"/>
                </a:lnTo>
                <a:lnTo>
                  <a:pt x="169621" y="416242"/>
                </a:lnTo>
                <a:lnTo>
                  <a:pt x="127226" y="396328"/>
                </a:lnTo>
                <a:lnTo>
                  <a:pt x="90162" y="374537"/>
                </a:lnTo>
                <a:lnTo>
                  <a:pt x="58862" y="351053"/>
                </a:lnTo>
                <a:lnTo>
                  <a:pt x="15295" y="299734"/>
                </a:lnTo>
                <a:lnTo>
                  <a:pt x="0" y="243839"/>
                </a:lnTo>
                <a:close/>
              </a:path>
            </a:pathLst>
          </a:custGeom>
          <a:ln w="12700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 txBox="1"/>
          <p:nvPr/>
        </p:nvSpPr>
        <p:spPr>
          <a:xfrm>
            <a:off x="2331085" y="1702434"/>
            <a:ext cx="63055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indent="30480"/>
            <a:r>
              <a:rPr sz="700" spc="20" dirty="0">
                <a:latin typeface="Arial"/>
                <a:cs typeface="Arial"/>
              </a:rPr>
              <a:t>Conv</a:t>
            </a:r>
            <a:r>
              <a:rPr sz="700" spc="-155" dirty="0">
                <a:latin typeface="Arial"/>
                <a:cs typeface="Arial"/>
              </a:rPr>
              <a:t> </a:t>
            </a:r>
            <a:r>
              <a:rPr sz="700" spc="10" dirty="0">
                <a:latin typeface="Arial"/>
                <a:cs typeface="Arial"/>
              </a:rPr>
              <a:t>entional</a:t>
            </a:r>
            <a:endParaRPr sz="700">
              <a:latin typeface="Arial"/>
              <a:cs typeface="Arial"/>
            </a:endParaRPr>
          </a:p>
          <a:p>
            <a:pPr marL="12700">
              <a:spcBef>
                <a:spcPts val="40"/>
              </a:spcBef>
            </a:pPr>
            <a:r>
              <a:rPr sz="700" spc="5" dirty="0">
                <a:latin typeface="Arial"/>
                <a:cs typeface="Arial"/>
              </a:rPr>
              <a:t>energy</a:t>
            </a:r>
            <a:r>
              <a:rPr sz="700" spc="20" dirty="0">
                <a:latin typeface="Arial"/>
                <a:cs typeface="Arial"/>
              </a:rPr>
              <a:t> market</a:t>
            </a:r>
            <a:endParaRPr sz="700">
              <a:latin typeface="Arial"/>
              <a:cs typeface="Arial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3602227" y="1742948"/>
            <a:ext cx="81280" cy="81280"/>
          </a:xfrm>
          <a:custGeom>
            <a:avLst/>
            <a:gdLst/>
            <a:ahLst/>
            <a:cxnLst/>
            <a:rect l="l" t="t" r="r" b="b"/>
            <a:pathLst>
              <a:path w="81280" h="81280">
                <a:moveTo>
                  <a:pt x="53848" y="0"/>
                </a:moveTo>
                <a:lnTo>
                  <a:pt x="0" y="53848"/>
                </a:lnTo>
                <a:lnTo>
                  <a:pt x="80772" y="80772"/>
                </a:lnTo>
                <a:lnTo>
                  <a:pt x="53848" y="0"/>
                </a:lnTo>
                <a:close/>
              </a:path>
            </a:pathLst>
          </a:custGeom>
          <a:solidFill>
            <a:srgbClr val="9BE7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 txBox="1"/>
          <p:nvPr/>
        </p:nvSpPr>
        <p:spPr>
          <a:xfrm>
            <a:off x="3969385" y="2077557"/>
            <a:ext cx="816610" cy="4648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42875" marR="5715">
              <a:lnSpc>
                <a:spcPct val="124200"/>
              </a:lnSpc>
            </a:pPr>
            <a:r>
              <a:rPr sz="700" spc="10" dirty="0">
                <a:latin typeface="Arial"/>
                <a:cs typeface="Arial"/>
              </a:rPr>
              <a:t>Energy</a:t>
            </a:r>
            <a:r>
              <a:rPr sz="700" dirty="0">
                <a:latin typeface="Arial"/>
                <a:cs typeface="Arial"/>
              </a:rPr>
              <a:t> </a:t>
            </a:r>
            <a:r>
              <a:rPr sz="700" spc="15" dirty="0">
                <a:latin typeface="Arial"/>
                <a:cs typeface="Arial"/>
              </a:rPr>
              <a:t>demand  </a:t>
            </a:r>
            <a:r>
              <a:rPr sz="700" spc="10" dirty="0">
                <a:latin typeface="Arial"/>
                <a:cs typeface="Arial"/>
              </a:rPr>
              <a:t>and</a:t>
            </a:r>
            <a:r>
              <a:rPr sz="700" spc="-40" dirty="0">
                <a:latin typeface="Arial"/>
                <a:cs typeface="Arial"/>
              </a:rPr>
              <a:t> </a:t>
            </a:r>
            <a:r>
              <a:rPr sz="700" spc="15" dirty="0">
                <a:latin typeface="Arial"/>
                <a:cs typeface="Arial"/>
              </a:rPr>
              <a:t>surplus.</a:t>
            </a:r>
            <a:endParaRPr sz="700">
              <a:latin typeface="Arial"/>
              <a:cs typeface="Arial"/>
            </a:endParaRPr>
          </a:p>
          <a:p>
            <a:pPr marL="12700">
              <a:spcBef>
                <a:spcPts val="620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3683000" y="1610360"/>
            <a:ext cx="873760" cy="426720"/>
          </a:xfrm>
          <a:custGeom>
            <a:avLst/>
            <a:gdLst/>
            <a:ahLst/>
            <a:cxnLst/>
            <a:rect l="l" t="t" r="r" b="b"/>
            <a:pathLst>
              <a:path w="873760" h="426719">
                <a:moveTo>
                  <a:pt x="0" y="426720"/>
                </a:moveTo>
                <a:lnTo>
                  <a:pt x="873760" y="426720"/>
                </a:lnTo>
                <a:lnTo>
                  <a:pt x="873760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683000" y="1610360"/>
            <a:ext cx="873760" cy="426720"/>
          </a:xfrm>
          <a:custGeom>
            <a:avLst/>
            <a:gdLst/>
            <a:ahLst/>
            <a:cxnLst/>
            <a:rect l="l" t="t" r="r" b="b"/>
            <a:pathLst>
              <a:path w="873760" h="426719">
                <a:moveTo>
                  <a:pt x="0" y="426720"/>
                </a:moveTo>
                <a:lnTo>
                  <a:pt x="873760" y="426720"/>
                </a:lnTo>
                <a:lnTo>
                  <a:pt x="873760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ln w="12699">
            <a:solidFill>
              <a:srgbClr val="9BE7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 txBox="1"/>
          <p:nvPr/>
        </p:nvSpPr>
        <p:spPr>
          <a:xfrm>
            <a:off x="3700526" y="1703197"/>
            <a:ext cx="817880" cy="226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07340" marR="5080" indent="-295275">
              <a:lnSpc>
                <a:spcPct val="105000"/>
              </a:lnSpc>
            </a:pPr>
            <a:r>
              <a:rPr sz="700" spc="10" dirty="0">
                <a:latin typeface="Arial"/>
                <a:cs typeface="Arial"/>
              </a:rPr>
              <a:t>Energy </a:t>
            </a:r>
            <a:r>
              <a:rPr sz="700" spc="15" dirty="0">
                <a:latin typeface="Arial"/>
                <a:cs typeface="Arial"/>
              </a:rPr>
              <a:t>Retailer, </a:t>
            </a:r>
            <a:r>
              <a:rPr sz="700" spc="5" dirty="0">
                <a:latin typeface="Arial"/>
                <a:cs typeface="Arial"/>
              </a:rPr>
              <a:t>or  </a:t>
            </a:r>
            <a:r>
              <a:rPr sz="700" spc="25" dirty="0">
                <a:latin typeface="Arial"/>
                <a:cs typeface="Arial"/>
              </a:rPr>
              <a:t>DSO</a:t>
            </a:r>
            <a:endParaRPr sz="700">
              <a:latin typeface="Arial"/>
              <a:cs typeface="Arial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4043679" y="2032001"/>
            <a:ext cx="0" cy="398145"/>
          </a:xfrm>
          <a:custGeom>
            <a:avLst/>
            <a:gdLst/>
            <a:ahLst/>
            <a:cxnLst/>
            <a:rect l="l" t="t" r="r" b="b"/>
            <a:pathLst>
              <a:path h="398144">
                <a:moveTo>
                  <a:pt x="0" y="397763"/>
                </a:moveTo>
                <a:lnTo>
                  <a:pt x="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230880" y="1808479"/>
            <a:ext cx="442595" cy="6350"/>
          </a:xfrm>
          <a:custGeom>
            <a:avLst/>
            <a:gdLst/>
            <a:ahLst/>
            <a:cxnLst/>
            <a:rect l="l" t="t" r="r" b="b"/>
            <a:pathLst>
              <a:path w="442594" h="6350">
                <a:moveTo>
                  <a:pt x="442213" y="6096"/>
                </a:moveTo>
                <a:lnTo>
                  <a:pt x="0" y="0"/>
                </a:lnTo>
              </a:path>
            </a:pathLst>
          </a:custGeom>
          <a:ln w="20320">
            <a:solidFill>
              <a:srgbClr val="50BDD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 txBox="1"/>
          <p:nvPr/>
        </p:nvSpPr>
        <p:spPr>
          <a:xfrm>
            <a:off x="3484879" y="2794000"/>
            <a:ext cx="182880" cy="137216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9209" rIns="0" bIns="0" rtlCol="0">
            <a:spAutoFit/>
          </a:bodyPr>
          <a:lstStyle/>
          <a:p>
            <a:pPr marL="20955">
              <a:spcBef>
                <a:spcPts val="229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3037839" y="2570480"/>
            <a:ext cx="193040" cy="129523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1590" rIns="0" bIns="0" rtlCol="0">
            <a:spAutoFit/>
          </a:bodyPr>
          <a:lstStyle/>
          <a:p>
            <a:pPr marL="27305">
              <a:spcBef>
                <a:spcPts val="170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2804160" y="3017520"/>
            <a:ext cx="193040" cy="130164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2225" rIns="0" bIns="0" rtlCol="0">
            <a:spAutoFit/>
          </a:bodyPr>
          <a:lstStyle/>
          <a:p>
            <a:pPr marL="25400">
              <a:spcBef>
                <a:spcPts val="175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2519680" y="2580639"/>
            <a:ext cx="182880" cy="128240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0320" rIns="0" bIns="0" rtlCol="0">
            <a:spAutoFit/>
          </a:bodyPr>
          <a:lstStyle/>
          <a:p>
            <a:pPr marL="17145">
              <a:spcBef>
                <a:spcPts val="160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2245359" y="3007361"/>
            <a:ext cx="182880" cy="128881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0955" rIns="0" bIns="0" rtlCol="0">
            <a:spAutoFit/>
          </a:bodyPr>
          <a:lstStyle/>
          <a:p>
            <a:pPr marL="18415">
              <a:spcBef>
                <a:spcPts val="165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3947160" y="3235960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solidFill>
            <a:srgbClr val="AAB4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3947160" y="3235960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 txBox="1"/>
          <p:nvPr/>
        </p:nvSpPr>
        <p:spPr>
          <a:xfrm>
            <a:off x="3953511" y="3260978"/>
            <a:ext cx="14795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3693160" y="3601720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59"/>
                </a:moveTo>
                <a:lnTo>
                  <a:pt x="172719" y="162559"/>
                </a:lnTo>
                <a:lnTo>
                  <a:pt x="172719" y="0"/>
                </a:lnTo>
                <a:lnTo>
                  <a:pt x="0" y="0"/>
                </a:lnTo>
                <a:lnTo>
                  <a:pt x="0" y="162559"/>
                </a:lnTo>
                <a:close/>
              </a:path>
            </a:pathLst>
          </a:custGeom>
          <a:solidFill>
            <a:srgbClr val="AAB4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3693160" y="3601720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59"/>
                </a:moveTo>
                <a:lnTo>
                  <a:pt x="172719" y="162559"/>
                </a:lnTo>
                <a:lnTo>
                  <a:pt x="172719" y="0"/>
                </a:lnTo>
                <a:lnTo>
                  <a:pt x="0" y="0"/>
                </a:lnTo>
                <a:lnTo>
                  <a:pt x="0" y="162559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 txBox="1"/>
          <p:nvPr/>
        </p:nvSpPr>
        <p:spPr>
          <a:xfrm>
            <a:off x="3696717" y="3625595"/>
            <a:ext cx="14795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4236720" y="3810000"/>
            <a:ext cx="193040" cy="130164"/>
          </a:xfrm>
          <a:prstGeom prst="rect">
            <a:avLst/>
          </a:prstGeom>
          <a:solidFill>
            <a:srgbClr val="AAB413"/>
          </a:solidFill>
        </p:spPr>
        <p:txBody>
          <a:bodyPr vert="horz" wrap="square" lIns="0" tIns="22225" rIns="0" bIns="0" rtlCol="0">
            <a:spAutoFit/>
          </a:bodyPr>
          <a:lstStyle/>
          <a:p>
            <a:pPr marL="26034">
              <a:spcBef>
                <a:spcPts val="175"/>
              </a:spcBef>
            </a:pPr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3683000" y="4048759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solidFill>
            <a:srgbClr val="AAB4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3683000" y="4048759"/>
            <a:ext cx="172720" cy="162560"/>
          </a:xfrm>
          <a:custGeom>
            <a:avLst/>
            <a:gdLst/>
            <a:ahLst/>
            <a:cxnLst/>
            <a:rect l="l" t="t" r="r" b="b"/>
            <a:pathLst>
              <a:path w="172719" h="162560">
                <a:moveTo>
                  <a:pt x="0" y="162560"/>
                </a:moveTo>
                <a:lnTo>
                  <a:pt x="172719" y="162560"/>
                </a:lnTo>
                <a:lnTo>
                  <a:pt x="172719" y="0"/>
                </a:lnTo>
                <a:lnTo>
                  <a:pt x="0" y="0"/>
                </a:lnTo>
                <a:lnTo>
                  <a:pt x="0" y="16256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 txBox="1"/>
          <p:nvPr/>
        </p:nvSpPr>
        <p:spPr>
          <a:xfrm>
            <a:off x="3689986" y="4070984"/>
            <a:ext cx="14795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00" b="1" spc="-30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4109720" y="4678679"/>
            <a:ext cx="213360" cy="223520"/>
          </a:xfrm>
          <a:custGeom>
            <a:avLst/>
            <a:gdLst/>
            <a:ahLst/>
            <a:cxnLst/>
            <a:rect l="l" t="t" r="r" b="b"/>
            <a:pathLst>
              <a:path w="213360" h="223520">
                <a:moveTo>
                  <a:pt x="0" y="223520"/>
                </a:moveTo>
                <a:lnTo>
                  <a:pt x="213360" y="223520"/>
                </a:lnTo>
                <a:lnTo>
                  <a:pt x="213360" y="0"/>
                </a:lnTo>
                <a:lnTo>
                  <a:pt x="0" y="0"/>
                </a:lnTo>
                <a:lnTo>
                  <a:pt x="0" y="223520"/>
                </a:lnTo>
                <a:close/>
              </a:path>
            </a:pathLst>
          </a:custGeom>
          <a:solidFill>
            <a:srgbClr val="AAB4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4109720" y="4678679"/>
            <a:ext cx="213360" cy="223520"/>
          </a:xfrm>
          <a:custGeom>
            <a:avLst/>
            <a:gdLst/>
            <a:ahLst/>
            <a:cxnLst/>
            <a:rect l="l" t="t" r="r" b="b"/>
            <a:pathLst>
              <a:path w="213360" h="223520">
                <a:moveTo>
                  <a:pt x="0" y="223520"/>
                </a:moveTo>
                <a:lnTo>
                  <a:pt x="213360" y="223520"/>
                </a:lnTo>
                <a:lnTo>
                  <a:pt x="213360" y="0"/>
                </a:lnTo>
                <a:lnTo>
                  <a:pt x="0" y="0"/>
                </a:lnTo>
                <a:lnTo>
                  <a:pt x="0" y="223520"/>
                </a:lnTo>
                <a:close/>
              </a:path>
            </a:pathLst>
          </a:custGeom>
          <a:ln w="10160">
            <a:solidFill>
              <a:srgbClr val="AAB4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 txBox="1"/>
          <p:nvPr/>
        </p:nvSpPr>
        <p:spPr>
          <a:xfrm>
            <a:off x="4135754" y="4732654"/>
            <a:ext cx="14859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00" b="1" spc="-25" dirty="0">
                <a:latin typeface="Arial"/>
                <a:cs typeface="Arial"/>
              </a:rPr>
              <a:t>TM</a:t>
            </a:r>
            <a:endParaRPr sz="700">
              <a:latin typeface="Arial"/>
              <a:cs typeface="Arial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4406010" y="4725671"/>
            <a:ext cx="916940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850" spc="10" dirty="0">
                <a:latin typeface="Arial"/>
                <a:cs typeface="Arial"/>
              </a:rPr>
              <a:t>Transactive</a:t>
            </a:r>
            <a:r>
              <a:rPr sz="850" spc="25" dirty="0">
                <a:latin typeface="Arial"/>
                <a:cs typeface="Arial"/>
              </a:rPr>
              <a:t> </a:t>
            </a:r>
            <a:r>
              <a:rPr sz="850" spc="-10" dirty="0">
                <a:latin typeface="Arial"/>
                <a:cs typeface="Arial"/>
              </a:rPr>
              <a:t>Meter</a:t>
            </a:r>
            <a:endParaRPr sz="850">
              <a:latin typeface="Arial"/>
              <a:cs typeface="Arial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1571308" y="4721479"/>
            <a:ext cx="2164715" cy="2231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69900" indent="-457200">
              <a:buClr>
                <a:srgbClr val="006699"/>
              </a:buClr>
              <a:buSzPct val="82758"/>
              <a:buFont typeface="Wingdings"/>
              <a:buChar char=""/>
              <a:tabLst>
                <a:tab pos="469900" algn="l"/>
                <a:tab pos="470534" algn="l"/>
              </a:tabLst>
            </a:pP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Information</a:t>
            </a:r>
            <a:r>
              <a:rPr sz="1450" b="1" spc="-23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privacy</a:t>
            </a:r>
            <a:endParaRPr sz="1450">
              <a:latin typeface="Arial"/>
              <a:cs typeface="Arial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1571308" y="4989322"/>
            <a:ext cx="4822825" cy="1282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76935" marR="5080" indent="-295275">
              <a:lnSpc>
                <a:spcPts val="1680"/>
              </a:lnSpc>
              <a:tabLst>
                <a:tab pos="876935" algn="l"/>
              </a:tabLst>
            </a:pPr>
            <a:r>
              <a:rPr sz="1500" spc="10" dirty="0">
                <a:solidFill>
                  <a:srgbClr val="7EDFC4"/>
                </a:solidFill>
                <a:latin typeface="Arial"/>
                <a:cs typeface="Arial"/>
              </a:rPr>
              <a:t>–	</a:t>
            </a:r>
            <a:r>
              <a:rPr sz="1450" spc="-10" dirty="0">
                <a:solidFill>
                  <a:srgbClr val="336699"/>
                </a:solidFill>
                <a:latin typeface="Arial"/>
                <a:cs typeface="Arial"/>
              </a:rPr>
              <a:t>energy</a:t>
            </a:r>
            <a:r>
              <a:rPr sz="1450" spc="-1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5" dirty="0">
                <a:solidFill>
                  <a:srgbClr val="336699"/>
                </a:solidFill>
                <a:latin typeface="Arial"/>
                <a:cs typeface="Arial"/>
              </a:rPr>
              <a:t>assets,</a:t>
            </a:r>
            <a:r>
              <a:rPr sz="1450" spc="-1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20" dirty="0">
                <a:solidFill>
                  <a:srgbClr val="336699"/>
                </a:solidFill>
                <a:latin typeface="Arial"/>
                <a:cs typeface="Arial"/>
              </a:rPr>
              <a:t>anonymous</a:t>
            </a:r>
            <a:r>
              <a:rPr sz="1450" spc="-1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10" dirty="0">
                <a:solidFill>
                  <a:srgbClr val="336699"/>
                </a:solidFill>
                <a:latin typeface="Arial"/>
                <a:cs typeface="Arial"/>
              </a:rPr>
              <a:t>addresses,</a:t>
            </a:r>
            <a:r>
              <a:rPr sz="1450" spc="-1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5" dirty="0">
                <a:solidFill>
                  <a:srgbClr val="336699"/>
                </a:solidFill>
                <a:latin typeface="Arial"/>
                <a:cs typeface="Arial"/>
              </a:rPr>
              <a:t>and</a:t>
            </a:r>
            <a:r>
              <a:rPr sz="1450" spc="-1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35" dirty="0">
                <a:solidFill>
                  <a:srgbClr val="336699"/>
                </a:solidFill>
                <a:latin typeface="Arial"/>
                <a:cs typeface="Arial"/>
              </a:rPr>
              <a:t>mixing </a:t>
            </a:r>
            <a:r>
              <a:rPr sz="1450" spc="-5" dirty="0">
                <a:solidFill>
                  <a:srgbClr val="336699"/>
                </a:solidFill>
                <a:latin typeface="Arial"/>
                <a:cs typeface="Arial"/>
              </a:rPr>
              <a:t> services</a:t>
            </a:r>
            <a:endParaRPr sz="1450">
              <a:latin typeface="Arial"/>
              <a:cs typeface="Arial"/>
            </a:endParaRPr>
          </a:p>
          <a:p>
            <a:pPr marL="469900" marR="458470" indent="-457200">
              <a:lnSpc>
                <a:spcPts val="1680"/>
              </a:lnSpc>
              <a:spcBef>
                <a:spcPts val="1285"/>
              </a:spcBef>
              <a:buClr>
                <a:srgbClr val="006699"/>
              </a:buClr>
              <a:buSzPct val="82758"/>
              <a:buFont typeface="Wingdings"/>
              <a:buChar char=""/>
              <a:tabLst>
                <a:tab pos="469900" algn="l"/>
                <a:tab pos="470534" algn="l"/>
              </a:tabLst>
            </a:pP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Assuring</a:t>
            </a:r>
            <a:r>
              <a:rPr sz="1450" b="1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integrity</a:t>
            </a:r>
            <a:r>
              <a:rPr sz="1450" b="1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and</a:t>
            </a:r>
            <a:r>
              <a:rPr sz="1450" b="1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auditability</a:t>
            </a:r>
            <a:r>
              <a:rPr sz="1450" b="1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of</a:t>
            </a:r>
            <a:r>
              <a:rPr sz="1450" b="1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5" dirty="0">
                <a:solidFill>
                  <a:srgbClr val="336699"/>
                </a:solidFill>
                <a:latin typeface="Arial"/>
                <a:cs typeface="Arial"/>
              </a:rPr>
              <a:t>finalized  </a:t>
            </a: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transactions</a:t>
            </a:r>
            <a:endParaRPr sz="1450">
              <a:latin typeface="Arial"/>
              <a:cs typeface="Arial"/>
            </a:endParaRPr>
          </a:p>
          <a:p>
            <a:pPr marL="582295">
              <a:spcBef>
                <a:spcPts val="165"/>
              </a:spcBef>
              <a:tabLst>
                <a:tab pos="876935" algn="l"/>
              </a:tabLst>
            </a:pPr>
            <a:r>
              <a:rPr sz="1500" spc="10" dirty="0">
                <a:solidFill>
                  <a:srgbClr val="7EDFC4"/>
                </a:solidFill>
                <a:latin typeface="Arial"/>
                <a:cs typeface="Arial"/>
              </a:rPr>
              <a:t>–	</a:t>
            </a:r>
            <a:r>
              <a:rPr sz="1450" spc="-5" dirty="0">
                <a:solidFill>
                  <a:srgbClr val="336699"/>
                </a:solidFill>
                <a:latin typeface="Arial"/>
                <a:cs typeface="Arial"/>
              </a:rPr>
              <a:t>distributed</a:t>
            </a:r>
            <a:r>
              <a:rPr sz="1450" spc="-17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10" dirty="0">
                <a:solidFill>
                  <a:srgbClr val="336699"/>
                </a:solidFill>
                <a:latin typeface="Arial"/>
                <a:cs typeface="Arial"/>
              </a:rPr>
              <a:t>ledger</a:t>
            </a:r>
            <a:r>
              <a:rPr sz="1450" spc="-17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5" dirty="0">
                <a:solidFill>
                  <a:srgbClr val="336699"/>
                </a:solidFill>
                <a:latin typeface="Arial"/>
                <a:cs typeface="Arial"/>
              </a:rPr>
              <a:t>and</a:t>
            </a:r>
            <a:r>
              <a:rPr sz="1450" spc="-17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20" dirty="0">
                <a:solidFill>
                  <a:srgbClr val="336699"/>
                </a:solidFill>
                <a:latin typeface="Arial"/>
                <a:cs typeface="Arial"/>
              </a:rPr>
              <a:t>tamper</a:t>
            </a:r>
            <a:r>
              <a:rPr sz="1450" spc="-1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10" dirty="0">
                <a:solidFill>
                  <a:srgbClr val="336699"/>
                </a:solidFill>
                <a:latin typeface="Arial"/>
                <a:cs typeface="Arial"/>
              </a:rPr>
              <a:t>proof</a:t>
            </a:r>
            <a:r>
              <a:rPr sz="1450" spc="-17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25" dirty="0">
                <a:solidFill>
                  <a:srgbClr val="336699"/>
                </a:solidFill>
                <a:latin typeface="Arial"/>
                <a:cs typeface="Arial"/>
              </a:rPr>
              <a:t>smart</a:t>
            </a:r>
            <a:r>
              <a:rPr sz="1450" spc="-1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spc="-20" dirty="0">
                <a:solidFill>
                  <a:srgbClr val="336699"/>
                </a:solidFill>
                <a:latin typeface="Arial"/>
                <a:cs typeface="Arial"/>
              </a:rPr>
              <a:t>meters</a:t>
            </a:r>
            <a:endParaRPr sz="1450">
              <a:latin typeface="Arial"/>
              <a:cs typeface="Arial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1571307" y="6410642"/>
            <a:ext cx="3305810" cy="2231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69900" indent="-457200">
              <a:buClr>
                <a:srgbClr val="006699"/>
              </a:buClr>
              <a:buSzPct val="82758"/>
              <a:buFont typeface="Wingdings"/>
              <a:buChar char=""/>
              <a:tabLst>
                <a:tab pos="469900" algn="l"/>
                <a:tab pos="470534" algn="l"/>
              </a:tabLst>
            </a:pPr>
            <a:r>
              <a:rPr sz="1450" b="1" spc="-5" dirty="0">
                <a:solidFill>
                  <a:srgbClr val="336699"/>
                </a:solidFill>
                <a:latin typeface="Arial"/>
                <a:cs typeface="Arial"/>
              </a:rPr>
              <a:t>Decentralized</a:t>
            </a:r>
            <a:r>
              <a:rPr sz="1450" b="1" spc="-26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5" dirty="0">
                <a:solidFill>
                  <a:srgbClr val="336699"/>
                </a:solidFill>
                <a:latin typeface="Arial"/>
                <a:cs typeface="Arial"/>
              </a:rPr>
              <a:t>Market</a:t>
            </a:r>
            <a:r>
              <a:rPr sz="1450" b="1" spc="-19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450" b="1" spc="-25" dirty="0">
                <a:solidFill>
                  <a:srgbClr val="336699"/>
                </a:solidFill>
                <a:latin typeface="Arial"/>
                <a:cs typeface="Arial"/>
              </a:rPr>
              <a:t>Mechanism</a:t>
            </a:r>
            <a:endParaRPr sz="1450">
              <a:latin typeface="Arial"/>
              <a:cs typeface="Arial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2140903" y="6648451"/>
            <a:ext cx="339153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tabLst>
                <a:tab pos="307340" algn="l"/>
              </a:tabLst>
            </a:pPr>
            <a:r>
              <a:rPr sz="1100" spc="10" dirty="0">
                <a:solidFill>
                  <a:srgbClr val="7EDFC4"/>
                </a:solidFill>
                <a:latin typeface="Arial"/>
                <a:cs typeface="Arial"/>
              </a:rPr>
              <a:t>–	</a:t>
            </a:r>
            <a:r>
              <a:rPr sz="1000" spc="-15" dirty="0">
                <a:solidFill>
                  <a:srgbClr val="336699"/>
                </a:solidFill>
                <a:latin typeface="Arial"/>
                <a:cs typeface="Arial"/>
              </a:rPr>
              <a:t>Hybrid</a:t>
            </a:r>
            <a:r>
              <a:rPr sz="1000" spc="-6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6699"/>
                </a:solidFill>
                <a:latin typeface="Arial"/>
                <a:cs typeface="Arial"/>
              </a:rPr>
              <a:t>integration</a:t>
            </a:r>
            <a:r>
              <a:rPr sz="1000" spc="-6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336699"/>
                </a:solidFill>
                <a:latin typeface="Arial"/>
                <a:cs typeface="Arial"/>
              </a:rPr>
              <a:t>of</a:t>
            </a:r>
            <a:r>
              <a:rPr sz="1000" spc="-9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25" dirty="0">
                <a:solidFill>
                  <a:srgbClr val="336699"/>
                </a:solidFill>
                <a:latin typeface="Arial"/>
                <a:cs typeface="Arial"/>
              </a:rPr>
              <a:t>MILP</a:t>
            </a:r>
            <a:r>
              <a:rPr sz="1000" spc="-15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30" dirty="0">
                <a:solidFill>
                  <a:srgbClr val="336699"/>
                </a:solidFill>
                <a:latin typeface="Arial"/>
                <a:cs typeface="Arial"/>
              </a:rPr>
              <a:t>solvers</a:t>
            </a:r>
            <a:r>
              <a:rPr sz="100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336699"/>
                </a:solidFill>
                <a:latin typeface="Arial"/>
                <a:cs typeface="Arial"/>
              </a:rPr>
              <a:t>and</a:t>
            </a:r>
            <a:r>
              <a:rPr sz="1000" spc="-6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6699"/>
                </a:solidFill>
                <a:latin typeface="Arial"/>
                <a:cs typeface="Arial"/>
              </a:rPr>
              <a:t>smart</a:t>
            </a:r>
            <a:r>
              <a:rPr sz="1000" spc="-90" dirty="0">
                <a:solidFill>
                  <a:srgbClr val="336699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336699"/>
                </a:solidFill>
                <a:latin typeface="Arial"/>
                <a:cs typeface="Arial"/>
              </a:rPr>
              <a:t>contracts</a:t>
            </a:r>
            <a:endParaRPr sz="1000">
              <a:latin typeface="Arial"/>
              <a:cs typeface="Arial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6471921" y="1036299"/>
            <a:ext cx="4185515" cy="197106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6471921" y="3901419"/>
            <a:ext cx="4185515" cy="197106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8097520" y="2885439"/>
            <a:ext cx="289559" cy="117348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8199119" y="3012439"/>
            <a:ext cx="91440" cy="891540"/>
          </a:xfrm>
          <a:custGeom>
            <a:avLst/>
            <a:gdLst/>
            <a:ahLst/>
            <a:cxnLst/>
            <a:rect l="l" t="t" r="r" b="b"/>
            <a:pathLst>
              <a:path w="91440" h="891539">
                <a:moveTo>
                  <a:pt x="30479" y="799592"/>
                </a:moveTo>
                <a:lnTo>
                  <a:pt x="0" y="799592"/>
                </a:lnTo>
                <a:lnTo>
                  <a:pt x="45720" y="891032"/>
                </a:lnTo>
                <a:lnTo>
                  <a:pt x="83819" y="814832"/>
                </a:lnTo>
                <a:lnTo>
                  <a:pt x="30479" y="814832"/>
                </a:lnTo>
                <a:lnTo>
                  <a:pt x="30479" y="799592"/>
                </a:lnTo>
                <a:close/>
              </a:path>
              <a:path w="91440" h="891539">
                <a:moveTo>
                  <a:pt x="60959" y="76200"/>
                </a:moveTo>
                <a:lnTo>
                  <a:pt x="30479" y="76200"/>
                </a:lnTo>
                <a:lnTo>
                  <a:pt x="30479" y="814832"/>
                </a:lnTo>
                <a:lnTo>
                  <a:pt x="60959" y="814832"/>
                </a:lnTo>
                <a:lnTo>
                  <a:pt x="60959" y="76200"/>
                </a:lnTo>
                <a:close/>
              </a:path>
              <a:path w="91440" h="891539">
                <a:moveTo>
                  <a:pt x="91439" y="799592"/>
                </a:moveTo>
                <a:lnTo>
                  <a:pt x="60959" y="799592"/>
                </a:lnTo>
                <a:lnTo>
                  <a:pt x="60959" y="814832"/>
                </a:lnTo>
                <a:lnTo>
                  <a:pt x="83819" y="814832"/>
                </a:lnTo>
                <a:lnTo>
                  <a:pt x="91439" y="799592"/>
                </a:lnTo>
                <a:close/>
              </a:path>
              <a:path w="91440" h="891539">
                <a:moveTo>
                  <a:pt x="45720" y="0"/>
                </a:moveTo>
                <a:lnTo>
                  <a:pt x="0" y="91439"/>
                </a:lnTo>
                <a:lnTo>
                  <a:pt x="30479" y="91439"/>
                </a:lnTo>
                <a:lnTo>
                  <a:pt x="30479" y="76200"/>
                </a:lnTo>
                <a:lnTo>
                  <a:pt x="83819" y="76200"/>
                </a:lnTo>
                <a:lnTo>
                  <a:pt x="45720" y="0"/>
                </a:lnTo>
                <a:close/>
              </a:path>
              <a:path w="91440" h="891539">
                <a:moveTo>
                  <a:pt x="83819" y="76200"/>
                </a:moveTo>
                <a:lnTo>
                  <a:pt x="60959" y="76200"/>
                </a:lnTo>
                <a:lnTo>
                  <a:pt x="60959" y="91439"/>
                </a:lnTo>
                <a:lnTo>
                  <a:pt x="91439" y="91439"/>
                </a:lnTo>
                <a:lnTo>
                  <a:pt x="83819" y="76200"/>
                </a:lnTo>
                <a:close/>
              </a:path>
            </a:pathLst>
          </a:custGeom>
          <a:solidFill>
            <a:srgbClr val="9BE7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 txBox="1"/>
          <p:nvPr/>
        </p:nvSpPr>
        <p:spPr>
          <a:xfrm>
            <a:off x="8477251" y="3061716"/>
            <a:ext cx="2053589" cy="6496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680"/>
              </a:lnSpc>
            </a:pPr>
            <a:r>
              <a:rPr sz="1450" spc="-5" dirty="0">
                <a:latin typeface="Arial"/>
                <a:cs typeface="Arial"/>
              </a:rPr>
              <a:t>Energy </a:t>
            </a:r>
            <a:r>
              <a:rPr sz="1450" spc="-15" dirty="0">
                <a:latin typeface="Arial"/>
                <a:cs typeface="Arial"/>
              </a:rPr>
              <a:t>Exchange  </a:t>
            </a:r>
            <a:r>
              <a:rPr sz="1450" spc="-5" dirty="0">
                <a:latin typeface="Arial"/>
                <a:cs typeface="Arial"/>
              </a:rPr>
              <a:t>Reduces</a:t>
            </a:r>
            <a:r>
              <a:rPr sz="1450" spc="-210" dirty="0">
                <a:latin typeface="Arial"/>
                <a:cs typeface="Arial"/>
              </a:rPr>
              <a:t> </a:t>
            </a:r>
            <a:r>
              <a:rPr sz="1450" spc="-5" dirty="0">
                <a:latin typeface="Arial"/>
                <a:cs typeface="Arial"/>
              </a:rPr>
              <a:t>Dependence</a:t>
            </a:r>
            <a:r>
              <a:rPr sz="1450" spc="-215" dirty="0">
                <a:latin typeface="Arial"/>
                <a:cs typeface="Arial"/>
              </a:rPr>
              <a:t> </a:t>
            </a:r>
            <a:r>
              <a:rPr sz="1450" spc="-5" dirty="0">
                <a:latin typeface="Arial"/>
                <a:cs typeface="Arial"/>
              </a:rPr>
              <a:t>on  the</a:t>
            </a:r>
            <a:r>
              <a:rPr sz="1450" spc="-175" dirty="0">
                <a:latin typeface="Arial"/>
                <a:cs typeface="Arial"/>
              </a:rPr>
              <a:t> </a:t>
            </a:r>
            <a:r>
              <a:rPr sz="1450" spc="-5" dirty="0">
                <a:latin typeface="Arial"/>
                <a:cs typeface="Arial"/>
              </a:rPr>
              <a:t>Grid</a:t>
            </a:r>
            <a:endParaRPr sz="1450">
              <a:latin typeface="Arial"/>
              <a:cs typeface="Arial"/>
            </a:endParaRPr>
          </a:p>
        </p:txBody>
      </p:sp>
      <p:sp>
        <p:nvSpPr>
          <p:cNvPr id="130" name="Title 1">
            <a:extLst>
              <a:ext uri="{FF2B5EF4-FFF2-40B4-BE49-F238E27FC236}">
                <a16:creationId xmlns:a16="http://schemas.microsoft.com/office/drawing/2014/main" id="{209F19C9-2A93-B34D-9939-1F65A839EEBB}"/>
              </a:ext>
            </a:extLst>
          </p:cNvPr>
          <p:cNvSpPr txBox="1">
            <a:spLocks/>
          </p:cNvSpPr>
          <p:nvPr/>
        </p:nvSpPr>
        <p:spPr>
          <a:xfrm>
            <a:off x="0" y="-153307"/>
            <a:ext cx="12192000" cy="12677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Example 3 – Smart and Connected Homes</a:t>
            </a:r>
          </a:p>
        </p:txBody>
      </p:sp>
    </p:spTree>
    <p:extLst>
      <p:ext uri="{BB962C8B-B14F-4D97-AF65-F5344CB8AC3E}">
        <p14:creationId xmlns:p14="http://schemas.microsoft.com/office/powerpoint/2010/main" val="30635022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2637319-9547-4359-BFBB-66DA233207A2}"/>
              </a:ext>
            </a:extLst>
          </p:cNvPr>
          <p:cNvSpPr txBox="1">
            <a:spLocks/>
          </p:cNvSpPr>
          <p:nvPr/>
        </p:nvSpPr>
        <p:spPr>
          <a:xfrm>
            <a:off x="629908" y="157275"/>
            <a:ext cx="11386958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733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Example 4 - Smart Building Management</a:t>
            </a:r>
            <a:endParaRPr lang="en-US" sz="3733" dirty="0">
              <a:solidFill>
                <a:srgbClr val="FF0000"/>
              </a:solidFill>
              <a:latin typeface="Tahoma" pitchFamily="34" charset="0"/>
              <a:ea typeface="MS PGothic" pitchFamily="34" charset="-128"/>
              <a:cs typeface="Tahoma" pitchFamily="34" charset="0"/>
            </a:endParaRPr>
          </a:p>
        </p:txBody>
      </p:sp>
      <p:pic>
        <p:nvPicPr>
          <p:cNvPr id="4" name="Online Media 3">
            <a:hlinkClick r:id="" action="ppaction://media"/>
            <a:extLst>
              <a:ext uri="{FF2B5EF4-FFF2-40B4-BE49-F238E27FC236}">
                <a16:creationId xmlns:a16="http://schemas.microsoft.com/office/drawing/2014/main" id="{E46EB2E7-95BC-4403-AD8C-243883C34387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0" y="0"/>
            <a:ext cx="12209479" cy="6867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202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>
          <a:xfrm>
            <a:off x="1505323" y="1553422"/>
            <a:ext cx="1512770" cy="2189309"/>
            <a:chOff x="-18677" y="1705821"/>
            <a:chExt cx="1512770" cy="2189309"/>
          </a:xfrm>
        </p:grpSpPr>
        <p:sp>
          <p:nvSpPr>
            <p:cNvPr id="14" name="TextBox 13"/>
            <p:cNvSpPr txBox="1"/>
            <p:nvPr/>
          </p:nvSpPr>
          <p:spPr>
            <a:xfrm>
              <a:off x="-18677" y="1705821"/>
              <a:ext cx="151277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B.Tech Electrical Engineering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-18677" y="3156466"/>
              <a:ext cx="151277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MS &amp; PhD, </a:t>
              </a:r>
            </a:p>
            <a:p>
              <a:pPr algn="ctr"/>
              <a:r>
                <a:rPr lang="en-US" sz="1400" b="1" dirty="0"/>
                <a:t>Electrical Engineering</a:t>
              </a:r>
            </a:p>
          </p:txBody>
        </p:sp>
      </p:grpSp>
      <p:sp>
        <p:nvSpPr>
          <p:cNvPr id="26" name="Rectangle 25"/>
          <p:cNvSpPr/>
          <p:nvPr/>
        </p:nvSpPr>
        <p:spPr>
          <a:xfrm>
            <a:off x="1892473" y="933157"/>
            <a:ext cx="11299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Education</a:t>
            </a:r>
            <a:endParaRPr lang="en-US" dirty="0"/>
          </a:p>
        </p:txBody>
      </p:sp>
      <p:grpSp>
        <p:nvGrpSpPr>
          <p:cNvPr id="30" name="Group 29"/>
          <p:cNvGrpSpPr/>
          <p:nvPr/>
        </p:nvGrpSpPr>
        <p:grpSpPr>
          <a:xfrm>
            <a:off x="2138498" y="866630"/>
            <a:ext cx="6221820" cy="3713373"/>
            <a:chOff x="746276" y="1019029"/>
            <a:chExt cx="6221820" cy="3713373"/>
          </a:xfrm>
        </p:grpSpPr>
        <p:grpSp>
          <p:nvGrpSpPr>
            <p:cNvPr id="24" name="Group 23"/>
            <p:cNvGrpSpPr/>
            <p:nvPr/>
          </p:nvGrpSpPr>
          <p:grpSpPr>
            <a:xfrm>
              <a:off x="746276" y="1589811"/>
              <a:ext cx="6221820" cy="3142591"/>
              <a:chOff x="858248" y="1361211"/>
              <a:chExt cx="6221820" cy="3142591"/>
            </a:xfrm>
          </p:grpSpPr>
          <p:pic>
            <p:nvPicPr>
              <p:cNvPr id="30729" name="Picture 9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3620120" y="1652529"/>
                <a:ext cx="2761872" cy="2743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7" name="Rectangle 16"/>
              <p:cNvSpPr/>
              <p:nvPr/>
            </p:nvSpPr>
            <p:spPr>
              <a:xfrm>
                <a:off x="3248047" y="1361211"/>
                <a:ext cx="1372107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b="1" dirty="0"/>
                  <a:t>Senior Research</a:t>
                </a:r>
              </a:p>
              <a:p>
                <a:r>
                  <a:rPr lang="en-US" sz="1400" b="1" dirty="0"/>
                  <a:t>Scientist</a:t>
                </a:r>
                <a:endParaRPr lang="en-US" sz="1400" dirty="0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2986950" y="3035588"/>
                <a:ext cx="1484354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en-US" sz="1400" b="1" dirty="0"/>
                  <a:t>Assistant Prof</a:t>
                </a:r>
                <a:endParaRPr lang="en-US" sz="1400" dirty="0"/>
              </a:p>
            </p:txBody>
          </p:sp>
          <p:pic>
            <p:nvPicPr>
              <p:cNvPr id="36" name="Picture 9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858248" y="1760602"/>
                <a:ext cx="2761872" cy="2743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40" name="Rectangle 39"/>
              <p:cNvSpPr/>
              <p:nvPr/>
            </p:nvSpPr>
            <p:spPr>
              <a:xfrm>
                <a:off x="5881017" y="1681756"/>
                <a:ext cx="1199051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en-US" sz="1400" b="1" dirty="0"/>
                  <a:t>Business Analyst</a:t>
                </a:r>
                <a:endParaRPr lang="en-US" sz="1400" dirty="0"/>
              </a:p>
            </p:txBody>
          </p:sp>
        </p:grpSp>
        <p:sp>
          <p:nvSpPr>
            <p:cNvPr id="28" name="Rectangle 27"/>
            <p:cNvSpPr/>
            <p:nvPr/>
          </p:nvSpPr>
          <p:spPr>
            <a:xfrm>
              <a:off x="3464066" y="1019029"/>
              <a:ext cx="120283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/>
                <a:t>Academics</a:t>
              </a:r>
              <a:endParaRPr lang="en-US" dirty="0"/>
            </a:p>
          </p:txBody>
        </p:sp>
      </p:grpSp>
      <p:sp>
        <p:nvSpPr>
          <p:cNvPr id="57" name="Rectangle 56"/>
          <p:cNvSpPr/>
          <p:nvPr/>
        </p:nvSpPr>
        <p:spPr>
          <a:xfrm>
            <a:off x="8661735" y="931262"/>
            <a:ext cx="9766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Industry</a:t>
            </a:r>
            <a:endParaRPr lang="en-US" dirty="0"/>
          </a:p>
        </p:txBody>
      </p:sp>
      <p:sp>
        <p:nvSpPr>
          <p:cNvPr id="62" name="Rectangle 3"/>
          <p:cNvSpPr txBox="1">
            <a:spLocks noChangeArrowheads="1"/>
          </p:cNvSpPr>
          <p:nvPr/>
        </p:nvSpPr>
        <p:spPr>
          <a:xfrm>
            <a:off x="1524000" y="-54883"/>
            <a:ext cx="9144000" cy="479425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endParaRPr lang="en-US" sz="3200" dirty="0">
              <a:solidFill>
                <a:srgbClr val="FF000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26" name="Picture 2" descr="http://upload.wikimedia.org/wikipedia/en/4/4c/Official_Logo_of_IIT%28BHU%29%2CVaranasi%2CIndia%2C201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023" y="978933"/>
            <a:ext cx="1544155" cy="157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ISIS Vide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956" y="1168483"/>
            <a:ext cx="859045" cy="1120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0099" y="1690543"/>
            <a:ext cx="1905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739469" y="4283058"/>
            <a:ext cx="632180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search Inter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ilience in Cyber Physical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ure and Resilient Operating Systems for C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al-time distributed software platfo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ult Diagnosis</a:t>
            </a:r>
          </a:p>
          <a:p>
            <a:endParaRPr lang="en-US" b="1" dirty="0"/>
          </a:p>
        </p:txBody>
      </p:sp>
      <p:sp>
        <p:nvSpPr>
          <p:cNvPr id="42" name="Rectangle 41"/>
          <p:cNvSpPr/>
          <p:nvPr/>
        </p:nvSpPr>
        <p:spPr>
          <a:xfrm>
            <a:off x="7818815" y="2933269"/>
            <a:ext cx="18663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Research Project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451472" y="3339771"/>
            <a:ext cx="38457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nsportation Analytics (Sponsored by NSF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del Based Software Health Management (Sponsored by NAS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ystem F6 - satellites (Sponsored by DARP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mart Grid Fault Diagnosis (Sponsored by NSF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centralized IoT and Transactive Energy (Sponsored by Siemens)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981200" y="159174"/>
            <a:ext cx="8229600" cy="783770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bhishek Dubey</a:t>
            </a:r>
          </a:p>
        </p:txBody>
      </p:sp>
    </p:spTree>
    <p:extLst>
      <p:ext uri="{BB962C8B-B14F-4D97-AF65-F5344CB8AC3E}">
        <p14:creationId xmlns:p14="http://schemas.microsoft.com/office/powerpoint/2010/main" val="15970141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097" y="1578539"/>
            <a:ext cx="6272484" cy="46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4613709" y="1578539"/>
            <a:ext cx="2502569" cy="462480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 rot="5400000">
            <a:off x="5508789" y="3339161"/>
            <a:ext cx="3329609" cy="23124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 rot="5400000">
            <a:off x="7821193" y="3463855"/>
            <a:ext cx="3329609" cy="23124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 rot="5400000">
            <a:off x="8181572" y="2489297"/>
            <a:ext cx="3329609" cy="150809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 rot="5400000">
            <a:off x="8865070" y="2593475"/>
            <a:ext cx="1017934" cy="108638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 rot="4468015">
            <a:off x="8480478" y="2786478"/>
            <a:ext cx="1017934" cy="108638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12707" y="1175472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Computation Platform Layer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32" name="Rectangle 31"/>
          <p:cNvSpPr/>
          <p:nvPr/>
        </p:nvSpPr>
        <p:spPr>
          <a:xfrm>
            <a:off x="81906" y="1139784"/>
            <a:ext cx="2976991" cy="378039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4" name="Group 33"/>
          <p:cNvGrpSpPr/>
          <p:nvPr/>
        </p:nvGrpSpPr>
        <p:grpSpPr>
          <a:xfrm>
            <a:off x="5988447" y="1631958"/>
            <a:ext cx="2733307" cy="1363070"/>
            <a:chOff x="4464446" y="1631958"/>
            <a:chExt cx="2733307" cy="1363070"/>
          </a:xfrm>
        </p:grpSpPr>
        <p:sp>
          <p:nvSpPr>
            <p:cNvPr id="35" name="Rectangle 34"/>
            <p:cNvSpPr/>
            <p:nvPr/>
          </p:nvSpPr>
          <p:spPr>
            <a:xfrm>
              <a:off x="5725636" y="163195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nsors</a:t>
              </a:r>
            </a:p>
          </p:txBody>
        </p:sp>
        <p:pic>
          <p:nvPicPr>
            <p:cNvPr id="36" name="Picture 2" descr="http://neo.lcc.uma.es/staff/guillermo/index_files/Images/F304CROE0105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66" y="2033222"/>
              <a:ext cx="1162179" cy="9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/>
            <p:cNvSpPr/>
            <p:nvPr/>
          </p:nvSpPr>
          <p:spPr>
            <a:xfrm>
              <a:off x="4464446" y="168537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Environment</a:t>
              </a: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865096">
              <a:off x="5262532" y="2105219"/>
              <a:ext cx="559266" cy="737755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1233" y="2238182"/>
              <a:ext cx="1048543" cy="688934"/>
            </a:xfrm>
            <a:prstGeom prst="rect">
              <a:avLst/>
            </a:prstGeom>
          </p:spPr>
        </p:pic>
      </p:grpSp>
      <p:sp>
        <p:nvSpPr>
          <p:cNvPr id="41" name="Title 4">
            <a:extLst>
              <a:ext uri="{FF2B5EF4-FFF2-40B4-BE49-F238E27FC236}">
                <a16:creationId xmlns:a16="http://schemas.microsoft.com/office/drawing/2014/main" id="{8712B90C-6311-C346-97BA-D6133F560A60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onstructing Smart IoT Systems</a:t>
            </a:r>
          </a:p>
        </p:txBody>
      </p:sp>
    </p:spTree>
    <p:extLst>
      <p:ext uri="{BB962C8B-B14F-4D97-AF65-F5344CB8AC3E}">
        <p14:creationId xmlns:p14="http://schemas.microsoft.com/office/powerpoint/2010/main" val="17592305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097" y="1578539"/>
            <a:ext cx="6272484" cy="46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4142071" y="1828796"/>
            <a:ext cx="1732545" cy="29742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864993" y="1578539"/>
            <a:ext cx="1251285" cy="246407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36135" y="1300651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Computation Platform Layer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236134" y="1264962"/>
            <a:ext cx="2976991" cy="28881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861279" y="1959005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Stream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601200" y="3352801"/>
            <a:ext cx="1157288" cy="9906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62600" y="3819723"/>
            <a:ext cx="1828800" cy="238362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7365727" y="4621290"/>
            <a:ext cx="3219491" cy="157330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9370514" y="4379145"/>
            <a:ext cx="1214704" cy="142214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7155302" y="3780277"/>
            <a:ext cx="1053763" cy="39190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latform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6723963" y="2740356"/>
            <a:ext cx="2106057" cy="2274376"/>
            <a:chOff x="5199962" y="2740356"/>
            <a:chExt cx="2106057" cy="2274376"/>
          </a:xfrm>
        </p:grpSpPr>
        <p:sp>
          <p:nvSpPr>
            <p:cNvPr id="4" name="Oval 3"/>
            <p:cNvSpPr/>
            <p:nvPr/>
          </p:nvSpPr>
          <p:spPr>
            <a:xfrm>
              <a:off x="5199962" y="2740356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Oval 35"/>
            <p:cNvSpPr/>
            <p:nvPr/>
          </p:nvSpPr>
          <p:spPr>
            <a:xfrm>
              <a:off x="5341610" y="3107674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5988447" y="1631958"/>
            <a:ext cx="2733307" cy="1363070"/>
            <a:chOff x="4464446" y="1631958"/>
            <a:chExt cx="2733307" cy="1363070"/>
          </a:xfrm>
        </p:grpSpPr>
        <p:sp>
          <p:nvSpPr>
            <p:cNvPr id="46" name="Rectangle 45"/>
            <p:cNvSpPr/>
            <p:nvPr/>
          </p:nvSpPr>
          <p:spPr>
            <a:xfrm>
              <a:off x="5725636" y="163195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nsors</a:t>
              </a:r>
            </a:p>
          </p:txBody>
        </p:sp>
        <p:pic>
          <p:nvPicPr>
            <p:cNvPr id="47" name="Picture 2" descr="http://neo.lcc.uma.es/staff/guillermo/index_files/Images/F304CROE0105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66" y="2033222"/>
              <a:ext cx="1162179" cy="9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Rectangle 47"/>
            <p:cNvSpPr/>
            <p:nvPr/>
          </p:nvSpPr>
          <p:spPr>
            <a:xfrm>
              <a:off x="4464446" y="168537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Environment</a:t>
              </a:r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865096">
              <a:off x="5262532" y="2105219"/>
              <a:ext cx="559266" cy="73775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1233" y="2238182"/>
              <a:ext cx="1048543" cy="688934"/>
            </a:xfrm>
            <a:prstGeom prst="rect">
              <a:avLst/>
            </a:prstGeom>
          </p:spPr>
        </p:pic>
      </p:grpSp>
      <p:sp>
        <p:nvSpPr>
          <p:cNvPr id="39" name="Title 4">
            <a:extLst>
              <a:ext uri="{FF2B5EF4-FFF2-40B4-BE49-F238E27FC236}">
                <a16:creationId xmlns:a16="http://schemas.microsoft.com/office/drawing/2014/main" id="{5F935AE3-CEA2-5041-A971-76046F3D1D81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onstructing Smart IoT Systems</a:t>
            </a:r>
          </a:p>
        </p:txBody>
      </p:sp>
    </p:spTree>
    <p:extLst>
      <p:ext uri="{BB962C8B-B14F-4D97-AF65-F5344CB8AC3E}">
        <p14:creationId xmlns:p14="http://schemas.microsoft.com/office/powerpoint/2010/main" val="30758147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097" y="1578539"/>
            <a:ext cx="6272484" cy="46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4142071" y="1828796"/>
            <a:ext cx="1732545" cy="29742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864993" y="1578539"/>
            <a:ext cx="1251285" cy="246407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326808" y="1192563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96007" y="1156875"/>
            <a:ext cx="2976991" cy="18935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861279" y="1959005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Stream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601200" y="3352801"/>
            <a:ext cx="1157288" cy="9906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62600" y="3819723"/>
            <a:ext cx="1828800" cy="238362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9370514" y="4379145"/>
            <a:ext cx="1214704" cy="142214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974624" y="5796054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ecision Support Systems: Big Data Analytic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155302" y="3780277"/>
            <a:ext cx="1053763" cy="39190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latform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6723963" y="2740356"/>
            <a:ext cx="2106057" cy="2274376"/>
            <a:chOff x="5199962" y="2740356"/>
            <a:chExt cx="2106057" cy="2274376"/>
          </a:xfrm>
        </p:grpSpPr>
        <p:sp>
          <p:nvSpPr>
            <p:cNvPr id="34" name="Oval 33"/>
            <p:cNvSpPr/>
            <p:nvPr/>
          </p:nvSpPr>
          <p:spPr>
            <a:xfrm>
              <a:off x="5199962" y="2740356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Oval 38"/>
            <p:cNvSpPr/>
            <p:nvPr/>
          </p:nvSpPr>
          <p:spPr>
            <a:xfrm>
              <a:off x="5341610" y="3107674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5988447" y="1631958"/>
            <a:ext cx="2733307" cy="1363070"/>
            <a:chOff x="4464446" y="1631958"/>
            <a:chExt cx="2733307" cy="1363070"/>
          </a:xfrm>
        </p:grpSpPr>
        <p:sp>
          <p:nvSpPr>
            <p:cNvPr id="47" name="Rectangle 46"/>
            <p:cNvSpPr/>
            <p:nvPr/>
          </p:nvSpPr>
          <p:spPr>
            <a:xfrm>
              <a:off x="5725636" y="163195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nsors</a:t>
              </a:r>
            </a:p>
          </p:txBody>
        </p:sp>
        <p:pic>
          <p:nvPicPr>
            <p:cNvPr id="48" name="Picture 2" descr="http://neo.lcc.uma.es/staff/guillermo/index_files/Images/F304CROE0105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66" y="2033222"/>
              <a:ext cx="1162179" cy="9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Rectangle 48"/>
            <p:cNvSpPr/>
            <p:nvPr/>
          </p:nvSpPr>
          <p:spPr>
            <a:xfrm>
              <a:off x="4464446" y="168537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Environment</a:t>
              </a:r>
            </a:p>
          </p:txBody>
        </p: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865096">
              <a:off x="5262532" y="2105219"/>
              <a:ext cx="559266" cy="737755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1233" y="2238182"/>
              <a:ext cx="1048543" cy="688934"/>
            </a:xfrm>
            <a:prstGeom prst="rect">
              <a:avLst/>
            </a:prstGeom>
          </p:spPr>
        </p:pic>
      </p:grpSp>
      <p:sp>
        <p:nvSpPr>
          <p:cNvPr id="41" name="Title 4">
            <a:extLst>
              <a:ext uri="{FF2B5EF4-FFF2-40B4-BE49-F238E27FC236}">
                <a16:creationId xmlns:a16="http://schemas.microsoft.com/office/drawing/2014/main" id="{FBF8EE69-383F-4831-9C85-3E4ACA2FF96E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onstructing Smart IoT Systems</a:t>
            </a:r>
          </a:p>
        </p:txBody>
      </p:sp>
    </p:spTree>
    <p:extLst>
      <p:ext uri="{BB962C8B-B14F-4D97-AF65-F5344CB8AC3E}">
        <p14:creationId xmlns:p14="http://schemas.microsoft.com/office/powerpoint/2010/main" val="13422639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097" y="1578539"/>
            <a:ext cx="6272484" cy="46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4142071" y="1828796"/>
            <a:ext cx="1732545" cy="29742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864993" y="1578539"/>
            <a:ext cx="1251285" cy="246407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i="1" dirty="0">
              <a:latin typeface="Arial" pitchFamily="-65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89892" y="1231293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59091" y="1195605"/>
            <a:ext cx="2976991" cy="97954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861279" y="1959005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Stream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601200" y="3352801"/>
            <a:ext cx="1157288" cy="9906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9370514" y="4379145"/>
            <a:ext cx="1214704" cy="142214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974624" y="5796054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ecision Support Systems: Big Data Analytic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060883" y="5460247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UI and Information Present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155302" y="3780277"/>
            <a:ext cx="1053763" cy="39190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latform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6723963" y="2740356"/>
            <a:ext cx="2106057" cy="2274376"/>
            <a:chOff x="5199962" y="2740356"/>
            <a:chExt cx="2106057" cy="2274376"/>
          </a:xfrm>
        </p:grpSpPr>
        <p:sp>
          <p:nvSpPr>
            <p:cNvPr id="39" name="Oval 38"/>
            <p:cNvSpPr/>
            <p:nvPr/>
          </p:nvSpPr>
          <p:spPr>
            <a:xfrm>
              <a:off x="5199962" y="2740356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Oval 39"/>
            <p:cNvSpPr/>
            <p:nvPr/>
          </p:nvSpPr>
          <p:spPr>
            <a:xfrm>
              <a:off x="5341610" y="3107674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475718" y="2815841"/>
            <a:ext cx="2340946" cy="2274376"/>
            <a:chOff x="5199962" y="2740356"/>
            <a:chExt cx="2106057" cy="2274376"/>
          </a:xfrm>
        </p:grpSpPr>
        <p:sp>
          <p:nvSpPr>
            <p:cNvPr id="43" name="Oval 42"/>
            <p:cNvSpPr/>
            <p:nvPr/>
          </p:nvSpPr>
          <p:spPr>
            <a:xfrm>
              <a:off x="5199962" y="2740356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Oval 43"/>
            <p:cNvSpPr/>
            <p:nvPr/>
          </p:nvSpPr>
          <p:spPr>
            <a:xfrm>
              <a:off x="5341610" y="3107674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5988447" y="1631958"/>
            <a:ext cx="2733307" cy="1363070"/>
            <a:chOff x="4464446" y="1631958"/>
            <a:chExt cx="2733307" cy="1363070"/>
          </a:xfrm>
        </p:grpSpPr>
        <p:sp>
          <p:nvSpPr>
            <p:cNvPr id="52" name="Rectangle 51"/>
            <p:cNvSpPr/>
            <p:nvPr/>
          </p:nvSpPr>
          <p:spPr>
            <a:xfrm>
              <a:off x="5725636" y="163195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nsors</a:t>
              </a:r>
            </a:p>
          </p:txBody>
        </p:sp>
        <p:pic>
          <p:nvPicPr>
            <p:cNvPr id="53" name="Picture 2" descr="http://neo.lcc.uma.es/staff/guillermo/index_files/Images/F304CROE0105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66" y="2033222"/>
              <a:ext cx="1162179" cy="9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Rectangle 53"/>
            <p:cNvSpPr/>
            <p:nvPr/>
          </p:nvSpPr>
          <p:spPr>
            <a:xfrm>
              <a:off x="4464446" y="168537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Environment</a:t>
              </a: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865096">
              <a:off x="5262532" y="2105219"/>
              <a:ext cx="559266" cy="737755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1233" y="2238182"/>
              <a:ext cx="1048543" cy="688934"/>
            </a:xfrm>
            <a:prstGeom prst="rect">
              <a:avLst/>
            </a:prstGeom>
          </p:spPr>
        </p:pic>
      </p:grpSp>
      <p:sp>
        <p:nvSpPr>
          <p:cNvPr id="46" name="Title 4">
            <a:extLst>
              <a:ext uri="{FF2B5EF4-FFF2-40B4-BE49-F238E27FC236}">
                <a16:creationId xmlns:a16="http://schemas.microsoft.com/office/drawing/2014/main" id="{A33BA68C-BEC6-D642-A536-0AF26640AEE5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onstructing Smart IoT Systems</a:t>
            </a:r>
          </a:p>
        </p:txBody>
      </p:sp>
    </p:spTree>
    <p:extLst>
      <p:ext uri="{BB962C8B-B14F-4D97-AF65-F5344CB8AC3E}">
        <p14:creationId xmlns:p14="http://schemas.microsoft.com/office/powerpoint/2010/main" val="26961833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4"/>
          <a:stretch/>
        </p:blipFill>
        <p:spPr bwMode="auto">
          <a:xfrm>
            <a:off x="4510098" y="1578539"/>
            <a:ext cx="6119803" cy="46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159161" y="1268762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>
            <a:off x="8861279" y="1959005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Stream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601200" y="3352801"/>
            <a:ext cx="1157288" cy="9906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9370514" y="4379145"/>
            <a:ext cx="1214704" cy="142214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974624" y="5796054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ecision Support Systems: Big Data Analytic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060883" y="5460247"/>
            <a:ext cx="1828800" cy="822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UI and Information Presentation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564508" y="3854370"/>
            <a:ext cx="1272351" cy="81639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Sharing</a:t>
            </a:r>
          </a:p>
        </p:txBody>
      </p:sp>
      <p:sp>
        <p:nvSpPr>
          <p:cNvPr id="38" name="Rectangle 37"/>
          <p:cNvSpPr/>
          <p:nvPr/>
        </p:nvSpPr>
        <p:spPr>
          <a:xfrm>
            <a:off x="4617098" y="1928339"/>
            <a:ext cx="1272351" cy="81639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Human Network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781836" y="1673953"/>
            <a:ext cx="1513018" cy="45594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7155302" y="3780277"/>
            <a:ext cx="1053763" cy="39190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latform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6489074" y="2740356"/>
            <a:ext cx="2340946" cy="2274376"/>
            <a:chOff x="5199962" y="2740356"/>
            <a:chExt cx="2106057" cy="2274376"/>
          </a:xfrm>
        </p:grpSpPr>
        <p:sp>
          <p:nvSpPr>
            <p:cNvPr id="42" name="Oval 41"/>
            <p:cNvSpPr/>
            <p:nvPr/>
          </p:nvSpPr>
          <p:spPr>
            <a:xfrm>
              <a:off x="5199962" y="2740356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Oval 42"/>
            <p:cNvSpPr/>
            <p:nvPr/>
          </p:nvSpPr>
          <p:spPr>
            <a:xfrm>
              <a:off x="5341610" y="3107674"/>
              <a:ext cx="1964409" cy="19070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988447" y="1631958"/>
            <a:ext cx="2733307" cy="1363070"/>
            <a:chOff x="4464446" y="1631958"/>
            <a:chExt cx="2733307" cy="1363070"/>
          </a:xfrm>
        </p:grpSpPr>
        <p:sp>
          <p:nvSpPr>
            <p:cNvPr id="45" name="Rectangle 44"/>
            <p:cNvSpPr/>
            <p:nvPr/>
          </p:nvSpPr>
          <p:spPr>
            <a:xfrm>
              <a:off x="5725636" y="163195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Sensors</a:t>
              </a:r>
            </a:p>
          </p:txBody>
        </p:sp>
        <p:pic>
          <p:nvPicPr>
            <p:cNvPr id="46" name="Picture 2" descr="http://neo.lcc.uma.es/staff/guillermo/index_files/Images/F304CROE0105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66" y="2033222"/>
              <a:ext cx="1162179" cy="9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Rectangle 46"/>
            <p:cNvSpPr/>
            <p:nvPr/>
          </p:nvSpPr>
          <p:spPr>
            <a:xfrm>
              <a:off x="4464446" y="1685378"/>
              <a:ext cx="1472117" cy="4012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Environment</a:t>
              </a: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865096">
              <a:off x="5262532" y="2105219"/>
              <a:ext cx="559266" cy="73775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1233" y="2238182"/>
              <a:ext cx="1048543" cy="688934"/>
            </a:xfrm>
            <a:prstGeom prst="rect">
              <a:avLst/>
            </a:prstGeom>
          </p:spPr>
        </p:pic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onstructing Smart IoT Systems</a:t>
            </a:r>
          </a:p>
        </p:txBody>
      </p:sp>
    </p:spTree>
    <p:extLst>
      <p:ext uri="{BB962C8B-B14F-4D97-AF65-F5344CB8AC3E}">
        <p14:creationId xmlns:p14="http://schemas.microsoft.com/office/powerpoint/2010/main" val="27962240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81A80D-EFD5-1242-845D-2637AC7368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8648" y="1099476"/>
            <a:ext cx="2828488" cy="2828488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187122" y="1112485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Physical System and Senso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712ABF7-984F-9B45-B7D8-003BD7838A02}"/>
              </a:ext>
            </a:extLst>
          </p:cNvPr>
          <p:cNvGrpSpPr/>
          <p:nvPr/>
        </p:nvGrpSpPr>
        <p:grpSpPr>
          <a:xfrm>
            <a:off x="4982185" y="1354857"/>
            <a:ext cx="3154915" cy="2464866"/>
            <a:chOff x="7477005" y="4032437"/>
            <a:chExt cx="3154915" cy="246486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773B67F-8F0E-4047-BC7C-EECACAFB2725}"/>
                </a:ext>
              </a:extLst>
            </p:cNvPr>
            <p:cNvSpPr/>
            <p:nvPr/>
          </p:nvSpPr>
          <p:spPr>
            <a:xfrm>
              <a:off x="7477005" y="4032437"/>
              <a:ext cx="3154915" cy="2459181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3285A143-EC98-9449-835F-962F39F7DD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275" t="13294" r="2237" b="11929"/>
            <a:stretch/>
          </p:blipFill>
          <p:spPr>
            <a:xfrm>
              <a:off x="7492295" y="4037053"/>
              <a:ext cx="2095410" cy="1658305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14F3074C-CB3E-1B41-87E1-96FD0A391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211565" y="5217114"/>
              <a:ext cx="1420355" cy="1280189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3C1F7370-8C3D-8840-966D-9F3EE0CCEF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6045" t="16702" r="14551" b="14498"/>
            <a:stretch/>
          </p:blipFill>
          <p:spPr>
            <a:xfrm>
              <a:off x="7567455" y="5760478"/>
              <a:ext cx="909885" cy="678017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2E4DC25-4DB2-3A41-8B15-0B7F4AD281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1110" t="16617" r="9122" b="17152"/>
            <a:stretch/>
          </p:blipFill>
          <p:spPr>
            <a:xfrm>
              <a:off x="8496593" y="5331074"/>
              <a:ext cx="738784" cy="61922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A1AF500F-327B-914E-AFED-F3EC1503D9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0819" t="31380" r="11748" b="28112"/>
            <a:stretch/>
          </p:blipFill>
          <p:spPr>
            <a:xfrm>
              <a:off x="9365070" y="4838329"/>
              <a:ext cx="715483" cy="374298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A3202E94-BF67-7645-A21C-3F6862B1F1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9997" t="15829" r="11800" b="14948"/>
            <a:stretch/>
          </p:blipFill>
          <p:spPr>
            <a:xfrm>
              <a:off x="9772204" y="4059177"/>
              <a:ext cx="843435" cy="746592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B831944-AB56-8F43-8ADB-A622F76E42F5}"/>
              </a:ext>
            </a:extLst>
          </p:cNvPr>
          <p:cNvSpPr txBox="1"/>
          <p:nvPr/>
        </p:nvSpPr>
        <p:spPr>
          <a:xfrm>
            <a:off x="4877369" y="4141428"/>
            <a:ext cx="7314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oT sensors have rapidly improved in performance and have reduced in cost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C11C16-80A8-364B-9583-E647EB76B47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56134" y="1381597"/>
            <a:ext cx="38100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2697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6937" y="1107739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Networking Lay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831944-AB56-8F43-8ADB-A622F76E42F5}"/>
              </a:ext>
            </a:extLst>
          </p:cNvPr>
          <p:cNvSpPr txBox="1"/>
          <p:nvPr/>
        </p:nvSpPr>
        <p:spPr>
          <a:xfrm>
            <a:off x="3808603" y="5010484"/>
            <a:ext cx="84256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data from the IoT Sensors have to be moved in real-time to a computation backend for analysis. </a:t>
            </a:r>
          </a:p>
          <a:p>
            <a:endParaRPr lang="en-US" dirty="0"/>
          </a:p>
          <a:p>
            <a:r>
              <a:rPr lang="en-US" dirty="0"/>
              <a:t>Must deal with a range of networking technologies</a:t>
            </a:r>
          </a:p>
          <a:p>
            <a:endParaRPr lang="en-US" dirty="0"/>
          </a:p>
          <a:p>
            <a:r>
              <a:rPr lang="en-US" dirty="0"/>
              <a:t>The tradeoff is between throughput, cost, and timeliness and reliability of data transf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9CFEA1-66B1-9145-8F21-C2820BE803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6000" y="1276553"/>
            <a:ext cx="2540000" cy="1905000"/>
          </a:xfrm>
          <a:prstGeom prst="rect">
            <a:avLst/>
          </a:prstGeom>
        </p:spPr>
      </p:pic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32A0898A-CAD1-D042-BB98-9993AD63CB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5"/>
              </a:ext>
            </a:extLst>
          </a:blip>
          <a:stretch>
            <a:fillRect/>
          </a:stretch>
        </p:blipFill>
        <p:spPr>
          <a:xfrm>
            <a:off x="7544748" y="1342593"/>
            <a:ext cx="4503319" cy="166447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61850A0-7CF8-C341-A1FF-541F471021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7"/>
              </a:ext>
            </a:extLst>
          </a:blip>
          <a:stretch>
            <a:fillRect/>
          </a:stretch>
        </p:blipFill>
        <p:spPr>
          <a:xfrm>
            <a:off x="5143500" y="3200400"/>
            <a:ext cx="1905000" cy="4572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9EEFB90-6886-F647-B832-D1F1FBD4B9B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9"/>
              </a:ext>
            </a:extLst>
          </a:blip>
          <a:stretch>
            <a:fillRect/>
          </a:stretch>
        </p:blipFill>
        <p:spPr>
          <a:xfrm>
            <a:off x="7544748" y="3098864"/>
            <a:ext cx="1076328" cy="161976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D7529AA9-C80F-284E-ACFA-3AF8AF74EC9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11"/>
              </a:ext>
            </a:extLst>
          </a:blip>
          <a:stretch>
            <a:fillRect/>
          </a:stretch>
        </p:blipFill>
        <p:spPr>
          <a:xfrm>
            <a:off x="9117324" y="3110943"/>
            <a:ext cx="20320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0638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07230" y="1150072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ision Support Systems/Computing Layer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3A30EA-EBF7-D140-9DB8-9975855E0BF9}"/>
              </a:ext>
            </a:extLst>
          </p:cNvPr>
          <p:cNvGrpSpPr/>
          <p:nvPr/>
        </p:nvGrpSpPr>
        <p:grpSpPr>
          <a:xfrm>
            <a:off x="5200373" y="4925489"/>
            <a:ext cx="1942272" cy="1433472"/>
            <a:chOff x="0" y="1749944"/>
            <a:chExt cx="2436999" cy="1707636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82BA69A-56E1-BE49-9675-F0739E972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749944"/>
              <a:ext cx="2436999" cy="1707636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1E980B4-187A-0F45-B2A4-C97A2875B723}"/>
                </a:ext>
              </a:extLst>
            </p:cNvPr>
            <p:cNvSpPr txBox="1"/>
            <p:nvPr/>
          </p:nvSpPr>
          <p:spPr>
            <a:xfrm>
              <a:off x="658497" y="2092969"/>
              <a:ext cx="435079" cy="43997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0A4A9D54-67A1-8840-B60A-F06B862F9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5578" y="2647045"/>
            <a:ext cx="2350273" cy="1865399"/>
          </a:xfrm>
          <a:prstGeom prst="rect">
            <a:avLst/>
          </a:prstGeom>
        </p:spPr>
      </p:pic>
      <p:sp>
        <p:nvSpPr>
          <p:cNvPr id="35" name="Notched Right Arrow 34">
            <a:extLst>
              <a:ext uri="{FF2B5EF4-FFF2-40B4-BE49-F238E27FC236}">
                <a16:creationId xmlns:a16="http://schemas.microsoft.com/office/drawing/2014/main" id="{74C2D33C-C663-CA47-926B-52C5C676A6C2}"/>
              </a:ext>
            </a:extLst>
          </p:cNvPr>
          <p:cNvSpPr/>
          <p:nvPr/>
        </p:nvSpPr>
        <p:spPr>
          <a:xfrm rot="19904081">
            <a:off x="3435452" y="3871906"/>
            <a:ext cx="6606512" cy="269089"/>
          </a:xfrm>
          <a:prstGeom prst="notchedRightArrow">
            <a:avLst>
              <a:gd name="adj1" fmla="val 50000"/>
              <a:gd name="adj2" fmla="val 84485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B787204-0041-9547-8D98-D4EFD5CE38BC}"/>
              </a:ext>
            </a:extLst>
          </p:cNvPr>
          <p:cNvCxnSpPr>
            <a:cxnSpLocks/>
          </p:cNvCxnSpPr>
          <p:nvPr/>
        </p:nvCxnSpPr>
        <p:spPr>
          <a:xfrm>
            <a:off x="4559537" y="5213441"/>
            <a:ext cx="5973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206EB99C-7244-FC4D-A24F-55D38973D7F2}"/>
              </a:ext>
            </a:extLst>
          </p:cNvPr>
          <p:cNvSpPr txBox="1"/>
          <p:nvPr/>
        </p:nvSpPr>
        <p:spPr>
          <a:xfrm>
            <a:off x="3660585" y="4985996"/>
            <a:ext cx="10064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Mid 1990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187A236-37CB-354D-8E6F-762602EB6044}"/>
              </a:ext>
            </a:extLst>
          </p:cNvPr>
          <p:cNvSpPr txBox="1"/>
          <p:nvPr/>
        </p:nvSpPr>
        <p:spPr>
          <a:xfrm>
            <a:off x="5545651" y="3895978"/>
            <a:ext cx="114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Mid 2000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74C87D5-735C-2A4C-A067-565355189473}"/>
              </a:ext>
            </a:extLst>
          </p:cNvPr>
          <p:cNvCxnSpPr>
            <a:stCxn id="58" idx="2"/>
          </p:cNvCxnSpPr>
          <p:nvPr/>
        </p:nvCxnSpPr>
        <p:spPr>
          <a:xfrm flipH="1">
            <a:off x="5838816" y="4221992"/>
            <a:ext cx="466104" cy="444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9EC600F9-92FC-6846-B31F-B3C817ADC924}"/>
              </a:ext>
            </a:extLst>
          </p:cNvPr>
          <p:cNvSpPr txBox="1"/>
          <p:nvPr/>
        </p:nvSpPr>
        <p:spPr>
          <a:xfrm>
            <a:off x="4135669" y="2406790"/>
            <a:ext cx="14613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rgbClr val="558ED5"/>
                </a:solidFill>
              </a:rPr>
              <a:t>Grid Computing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7805A4A-63BA-3F4F-90C2-BF74CAFBF1A2}"/>
              </a:ext>
            </a:extLst>
          </p:cNvPr>
          <p:cNvSpPr txBox="1"/>
          <p:nvPr/>
        </p:nvSpPr>
        <p:spPr>
          <a:xfrm>
            <a:off x="4119991" y="5348514"/>
            <a:ext cx="13474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i="1" dirty="0">
                <a:solidFill>
                  <a:srgbClr val="558ED5"/>
                </a:solidFill>
              </a:rPr>
              <a:t>Small Homogeneous Clusters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F8553A83-7401-DC4A-B046-FF64921711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48475" y="3431765"/>
            <a:ext cx="2044953" cy="1650996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5A1A67AA-600E-C44B-B6D0-4BC6BADE2F1D}"/>
              </a:ext>
            </a:extLst>
          </p:cNvPr>
          <p:cNvSpPr txBox="1"/>
          <p:nvPr/>
        </p:nvSpPr>
        <p:spPr>
          <a:xfrm>
            <a:off x="6509788" y="3394797"/>
            <a:ext cx="964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Late 2000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0533389-AE61-AE4E-95FA-D9B86385AAC9}"/>
              </a:ext>
            </a:extLst>
          </p:cNvPr>
          <p:cNvCxnSpPr>
            <a:stCxn id="60" idx="6"/>
          </p:cNvCxnSpPr>
          <p:nvPr/>
        </p:nvCxnSpPr>
        <p:spPr>
          <a:xfrm>
            <a:off x="7373568" y="3686799"/>
            <a:ext cx="55267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D9A7E49C-F5D4-0E4C-8852-83DA8D9B05B4}"/>
              </a:ext>
            </a:extLst>
          </p:cNvPr>
          <p:cNvSpPr txBox="1"/>
          <p:nvPr/>
        </p:nvSpPr>
        <p:spPr>
          <a:xfrm>
            <a:off x="7518613" y="5067392"/>
            <a:ext cx="17162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rgbClr val="558ED5"/>
                </a:solidFill>
              </a:rPr>
              <a:t>Cloud Computing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E5B65AB3-ECCD-5041-87F1-AB6C3AD6D8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9659" y="1301366"/>
            <a:ext cx="2178872" cy="185036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0D21D34C-A7BE-2F4B-BDC7-DE177ABEBBAE}"/>
              </a:ext>
            </a:extLst>
          </p:cNvPr>
          <p:cNvSpPr txBox="1"/>
          <p:nvPr/>
        </p:nvSpPr>
        <p:spPr>
          <a:xfrm>
            <a:off x="8141812" y="2560679"/>
            <a:ext cx="9642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resent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71A84D-DB51-A24B-8AE9-940499228472}"/>
              </a:ext>
            </a:extLst>
          </p:cNvPr>
          <p:cNvCxnSpPr>
            <a:stCxn id="61" idx="2"/>
          </p:cNvCxnSpPr>
          <p:nvPr/>
        </p:nvCxnSpPr>
        <p:spPr>
          <a:xfrm flipH="1">
            <a:off x="8199084" y="2859284"/>
            <a:ext cx="63474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79C098CE-80D8-F949-AB6E-6E5852EAB7ED}"/>
              </a:ext>
            </a:extLst>
          </p:cNvPr>
          <p:cNvSpPr txBox="1"/>
          <p:nvPr/>
        </p:nvSpPr>
        <p:spPr>
          <a:xfrm>
            <a:off x="5156872" y="1088017"/>
            <a:ext cx="35090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rgbClr val="558ED5"/>
                </a:solidFill>
              </a:rPr>
              <a:t>Mobile computing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4F701B2-C952-4740-BE16-B3B31CBD3871}"/>
              </a:ext>
            </a:extLst>
          </p:cNvPr>
          <p:cNvSpPr/>
          <p:nvPr/>
        </p:nvSpPr>
        <p:spPr>
          <a:xfrm>
            <a:off x="6304920" y="4186718"/>
            <a:ext cx="77032" cy="70549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D351C5C7-A307-CC42-807F-7981334A7AB2}"/>
              </a:ext>
            </a:extLst>
          </p:cNvPr>
          <p:cNvSpPr/>
          <p:nvPr/>
        </p:nvSpPr>
        <p:spPr>
          <a:xfrm>
            <a:off x="4499271" y="5175155"/>
            <a:ext cx="77032" cy="70549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1B1AD3C9-AE8E-9540-85EA-806E27A0430F}"/>
              </a:ext>
            </a:extLst>
          </p:cNvPr>
          <p:cNvSpPr/>
          <p:nvPr/>
        </p:nvSpPr>
        <p:spPr>
          <a:xfrm>
            <a:off x="7296536" y="3651525"/>
            <a:ext cx="77032" cy="70549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F357FEC3-2C45-E841-92FD-BE24483F0457}"/>
              </a:ext>
            </a:extLst>
          </p:cNvPr>
          <p:cNvSpPr/>
          <p:nvPr/>
        </p:nvSpPr>
        <p:spPr>
          <a:xfrm>
            <a:off x="8833830" y="2824010"/>
            <a:ext cx="77032" cy="70549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8D37BFE-4558-CB48-9E09-91CB2A50065B}"/>
              </a:ext>
            </a:extLst>
          </p:cNvPr>
          <p:cNvSpPr/>
          <p:nvPr/>
        </p:nvSpPr>
        <p:spPr>
          <a:xfrm>
            <a:off x="9157838" y="2659285"/>
            <a:ext cx="77032" cy="70549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83E960B-6EF3-BA4A-80DC-3C2DCB8849E7}"/>
              </a:ext>
            </a:extLst>
          </p:cNvPr>
          <p:cNvCxnSpPr/>
          <p:nvPr/>
        </p:nvCxnSpPr>
        <p:spPr>
          <a:xfrm>
            <a:off x="9207309" y="2719502"/>
            <a:ext cx="666649" cy="153776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40E67F5F-EF29-E34C-950D-FCF41A8E914E}"/>
              </a:ext>
            </a:extLst>
          </p:cNvPr>
          <p:cNvSpPr txBox="1"/>
          <p:nvPr/>
        </p:nvSpPr>
        <p:spPr>
          <a:xfrm>
            <a:off x="9518641" y="3737161"/>
            <a:ext cx="25277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dge Computing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B7F7AF8D-7EBC-0240-803A-05145EAF13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86218" y="5521107"/>
            <a:ext cx="1420355" cy="1280189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C6249D8B-FEB8-9E4B-9695-52B8FECC8BF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275" t="13294" r="2237" b="11929"/>
          <a:stretch/>
        </p:blipFill>
        <p:spPr>
          <a:xfrm>
            <a:off x="9492535" y="4006360"/>
            <a:ext cx="2095410" cy="1658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24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7" grpId="0"/>
      <p:bldP spid="38" grpId="0"/>
      <p:bldP spid="40" grpId="0"/>
      <p:bldP spid="41" grpId="0"/>
      <p:bldP spid="43" grpId="0"/>
      <p:bldP spid="46" grpId="0"/>
      <p:bldP spid="48" grpId="0"/>
      <p:bldP spid="57" grpId="0"/>
      <p:bldP spid="58" grpId="0" animBg="1"/>
      <p:bldP spid="59" grpId="0" animBg="1"/>
      <p:bldP spid="60" grpId="0" animBg="1"/>
      <p:bldP spid="61" grpId="0" animBg="1"/>
      <p:bldP spid="62" grpId="0" animBg="1"/>
      <p:bldP spid="6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07230" y="1150072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Decision Support Systems/Computing Layer</a:t>
            </a:r>
          </a:p>
        </p:txBody>
      </p:sp>
      <p:sp>
        <p:nvSpPr>
          <p:cNvPr id="50" name="Right Triangle 49">
            <a:extLst>
              <a:ext uri="{FF2B5EF4-FFF2-40B4-BE49-F238E27FC236}">
                <a16:creationId xmlns:a16="http://schemas.microsoft.com/office/drawing/2014/main" id="{6AE5D12A-9568-764B-B110-E94526E11FB3}"/>
              </a:ext>
            </a:extLst>
          </p:cNvPr>
          <p:cNvSpPr/>
          <p:nvPr/>
        </p:nvSpPr>
        <p:spPr>
          <a:xfrm rot="10800000">
            <a:off x="11563664" y="1232441"/>
            <a:ext cx="591185" cy="4393118"/>
          </a:xfrm>
          <a:prstGeom prst="rtTriangle">
            <a:avLst/>
          </a:prstGeom>
          <a:solidFill>
            <a:srgbClr val="B7DEE8"/>
          </a:solidFill>
          <a:ln/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2A94EFF-74A6-B849-A4BD-FB5632020CA9}"/>
              </a:ext>
            </a:extLst>
          </p:cNvPr>
          <p:cNvSpPr txBox="1"/>
          <p:nvPr/>
        </p:nvSpPr>
        <p:spPr>
          <a:xfrm rot="16200000">
            <a:off x="11156589" y="1921558"/>
            <a:ext cx="16798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Resource availability</a:t>
            </a:r>
          </a:p>
        </p:txBody>
      </p:sp>
      <p:sp>
        <p:nvSpPr>
          <p:cNvPr id="52" name="Right Triangle 51">
            <a:extLst>
              <a:ext uri="{FF2B5EF4-FFF2-40B4-BE49-F238E27FC236}">
                <a16:creationId xmlns:a16="http://schemas.microsoft.com/office/drawing/2014/main" id="{5A88A9DC-BFA1-2043-AB27-4801FFE2281D}"/>
              </a:ext>
            </a:extLst>
          </p:cNvPr>
          <p:cNvSpPr/>
          <p:nvPr/>
        </p:nvSpPr>
        <p:spPr>
          <a:xfrm>
            <a:off x="11456592" y="1232440"/>
            <a:ext cx="591185" cy="4393119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/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524C6DD-FA64-C443-B204-61F8A5295D28}"/>
              </a:ext>
            </a:extLst>
          </p:cNvPr>
          <p:cNvSpPr txBox="1"/>
          <p:nvPr/>
        </p:nvSpPr>
        <p:spPr>
          <a:xfrm rot="5400000">
            <a:off x="10695543" y="4538293"/>
            <a:ext cx="1855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Data source proximity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341CD5FE-5EA5-4745-B643-9F30DB01B8F0}"/>
              </a:ext>
            </a:extLst>
          </p:cNvPr>
          <p:cNvSpPr txBox="1">
            <a:spLocks/>
          </p:cNvSpPr>
          <p:nvPr/>
        </p:nvSpPr>
        <p:spPr>
          <a:xfrm>
            <a:off x="3207829" y="1166018"/>
            <a:ext cx="2325077" cy="4525963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andle the velocity and volume of data flows</a:t>
            </a:r>
          </a:p>
          <a:p>
            <a:r>
              <a:rPr lang="en-US"/>
              <a:t>Establish and implement Security Constraints</a:t>
            </a:r>
          </a:p>
          <a:p>
            <a:r>
              <a:rPr lang="en-US"/>
              <a:t>Ensure Timing Constraints</a:t>
            </a:r>
          </a:p>
          <a:p>
            <a:r>
              <a:rPr lang="en-US"/>
              <a:t>Maintain Reliability</a:t>
            </a:r>
            <a:endParaRPr lang="en-US" dirty="0"/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CC6925A8-DE6A-DE47-9988-58997ED1B7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507" t="32105" r="18639" b="29858"/>
          <a:stretch/>
        </p:blipFill>
        <p:spPr>
          <a:xfrm>
            <a:off x="7026448" y="1138694"/>
            <a:ext cx="2159144" cy="130665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5D6D4C5F-BA8D-4C48-BE5A-A8D45C3D2E91}"/>
              </a:ext>
            </a:extLst>
          </p:cNvPr>
          <p:cNvGrpSpPr/>
          <p:nvPr/>
        </p:nvGrpSpPr>
        <p:grpSpPr>
          <a:xfrm>
            <a:off x="5825828" y="3591690"/>
            <a:ext cx="1105758" cy="1021947"/>
            <a:chOff x="4795516" y="3591416"/>
            <a:chExt cx="1105758" cy="1021947"/>
          </a:xfrm>
        </p:grpSpPr>
        <p:sp>
          <p:nvSpPr>
            <p:cNvPr id="65" name="Cloud 64">
              <a:extLst>
                <a:ext uri="{FF2B5EF4-FFF2-40B4-BE49-F238E27FC236}">
                  <a16:creationId xmlns:a16="http://schemas.microsoft.com/office/drawing/2014/main" id="{FABDB964-0E63-4A41-8E2F-8740D3FA4E31}"/>
                </a:ext>
              </a:extLst>
            </p:cNvPr>
            <p:cNvSpPr/>
            <p:nvPr/>
          </p:nvSpPr>
          <p:spPr>
            <a:xfrm>
              <a:off x="4795516" y="3591416"/>
              <a:ext cx="1105758" cy="1021947"/>
            </a:xfrm>
            <a:prstGeom prst="cloud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2FBDF2B9-4224-2E45-825A-723084ACA324}"/>
                </a:ext>
              </a:extLst>
            </p:cNvPr>
            <p:cNvSpPr/>
            <p:nvPr/>
          </p:nvSpPr>
          <p:spPr>
            <a:xfrm>
              <a:off x="5027232" y="3883620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E0502F09-9CF6-A444-AACE-89E3A5C595E2}"/>
                </a:ext>
              </a:extLst>
            </p:cNvPr>
            <p:cNvSpPr/>
            <p:nvPr/>
          </p:nvSpPr>
          <p:spPr>
            <a:xfrm>
              <a:off x="5043193" y="4277435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315ADDCA-0B24-C848-ADC7-576727550FE7}"/>
                </a:ext>
              </a:extLst>
            </p:cNvPr>
            <p:cNvSpPr/>
            <p:nvPr/>
          </p:nvSpPr>
          <p:spPr>
            <a:xfrm>
              <a:off x="5515479" y="423544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A032E238-23BE-384B-91B2-B1BA2FEBE39F}"/>
                </a:ext>
              </a:extLst>
            </p:cNvPr>
            <p:cNvSpPr/>
            <p:nvPr/>
          </p:nvSpPr>
          <p:spPr>
            <a:xfrm>
              <a:off x="5524299" y="3736673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374B10-FD1D-F649-AEEA-6DA554D61C73}"/>
                </a:ext>
              </a:extLst>
            </p:cNvPr>
            <p:cNvSpPr/>
            <p:nvPr/>
          </p:nvSpPr>
          <p:spPr>
            <a:xfrm>
              <a:off x="5305575" y="403056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F37C2876-2E13-3646-A92A-3AB28A2D995D}"/>
                </a:ext>
              </a:extLst>
            </p:cNvPr>
            <p:cNvCxnSpPr>
              <a:stCxn id="68" idx="7"/>
              <a:endCxn id="71" idx="2"/>
            </p:cNvCxnSpPr>
            <p:nvPr/>
          </p:nvCxnSpPr>
          <p:spPr>
            <a:xfrm flipV="1">
              <a:off x="5143690" y="3810147"/>
              <a:ext cx="380609" cy="94993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94584843-81B7-6F49-A5B2-D6E4EF5B4FB2}"/>
                </a:ext>
              </a:extLst>
            </p:cNvPr>
            <p:cNvCxnSpPr>
              <a:stCxn id="68" idx="4"/>
              <a:endCxn id="69" idx="0"/>
            </p:cNvCxnSpPr>
            <p:nvPr/>
          </p:nvCxnSpPr>
          <p:spPr>
            <a:xfrm>
              <a:off x="5095452" y="4030567"/>
              <a:ext cx="15961" cy="24686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96692A2-438F-4E43-9B2A-E0D14299FFB8}"/>
                </a:ext>
              </a:extLst>
            </p:cNvPr>
            <p:cNvCxnSpPr>
              <a:stCxn id="72" idx="7"/>
              <a:endCxn id="71" idx="3"/>
            </p:cNvCxnSpPr>
            <p:nvPr/>
          </p:nvCxnSpPr>
          <p:spPr>
            <a:xfrm flipV="1">
              <a:off x="5422033" y="3862100"/>
              <a:ext cx="122247" cy="18998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7103CA2-2621-DD4A-A6F0-334685E1331D}"/>
                </a:ext>
              </a:extLst>
            </p:cNvPr>
            <p:cNvCxnSpPr>
              <a:stCxn id="69" idx="6"/>
              <a:endCxn id="70" idx="2"/>
            </p:cNvCxnSpPr>
            <p:nvPr/>
          </p:nvCxnSpPr>
          <p:spPr>
            <a:xfrm flipV="1">
              <a:off x="5179632" y="4308921"/>
              <a:ext cx="335847" cy="4198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34F174C9-9B90-964D-B5E0-32E9606FEC4A}"/>
                </a:ext>
              </a:extLst>
            </p:cNvPr>
            <p:cNvCxnSpPr>
              <a:stCxn id="71" idx="4"/>
              <a:endCxn id="70" idx="0"/>
            </p:cNvCxnSpPr>
            <p:nvPr/>
          </p:nvCxnSpPr>
          <p:spPr>
            <a:xfrm flipH="1">
              <a:off x="5583699" y="3883620"/>
              <a:ext cx="8820" cy="35182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4458F64-C097-C64F-8610-CBD6583B4323}"/>
                </a:ext>
              </a:extLst>
            </p:cNvPr>
            <p:cNvCxnSpPr>
              <a:stCxn id="68" idx="5"/>
              <a:endCxn id="72" idx="1"/>
            </p:cNvCxnSpPr>
            <p:nvPr/>
          </p:nvCxnSpPr>
          <p:spPr>
            <a:xfrm>
              <a:off x="5143690" y="4009047"/>
              <a:ext cx="181866" cy="43040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5B9E788-8109-AB4A-ADA2-C4AB8BC30145}"/>
              </a:ext>
            </a:extLst>
          </p:cNvPr>
          <p:cNvGrpSpPr/>
          <p:nvPr/>
        </p:nvGrpSpPr>
        <p:grpSpPr>
          <a:xfrm>
            <a:off x="7548568" y="2842902"/>
            <a:ext cx="1105758" cy="1021947"/>
            <a:chOff x="4795516" y="3591416"/>
            <a:chExt cx="1105758" cy="1021947"/>
          </a:xfrm>
        </p:grpSpPr>
        <p:sp>
          <p:nvSpPr>
            <p:cNvPr id="80" name="Cloud 79">
              <a:extLst>
                <a:ext uri="{FF2B5EF4-FFF2-40B4-BE49-F238E27FC236}">
                  <a16:creationId xmlns:a16="http://schemas.microsoft.com/office/drawing/2014/main" id="{C3D30372-3D97-624E-A04B-60AB1DABEBF2}"/>
                </a:ext>
              </a:extLst>
            </p:cNvPr>
            <p:cNvSpPr/>
            <p:nvPr/>
          </p:nvSpPr>
          <p:spPr>
            <a:xfrm>
              <a:off x="4795516" y="3591416"/>
              <a:ext cx="1105758" cy="1021947"/>
            </a:xfrm>
            <a:prstGeom prst="cloud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8DB9E0D9-C259-1445-9EF6-82E6672E2278}"/>
                </a:ext>
              </a:extLst>
            </p:cNvPr>
            <p:cNvSpPr/>
            <p:nvPr/>
          </p:nvSpPr>
          <p:spPr>
            <a:xfrm>
              <a:off x="5027232" y="3883620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FFAEADC5-7648-304E-825B-0BD27DA52E50}"/>
                </a:ext>
              </a:extLst>
            </p:cNvPr>
            <p:cNvSpPr/>
            <p:nvPr/>
          </p:nvSpPr>
          <p:spPr>
            <a:xfrm>
              <a:off x="5043193" y="4277435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90581921-EE88-E446-B384-2920AA5C5339}"/>
                </a:ext>
              </a:extLst>
            </p:cNvPr>
            <p:cNvSpPr/>
            <p:nvPr/>
          </p:nvSpPr>
          <p:spPr>
            <a:xfrm>
              <a:off x="5515479" y="423544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51B7BBFD-DCEB-3A42-914B-766E4C9269D5}"/>
                </a:ext>
              </a:extLst>
            </p:cNvPr>
            <p:cNvSpPr/>
            <p:nvPr/>
          </p:nvSpPr>
          <p:spPr>
            <a:xfrm>
              <a:off x="5524299" y="3736673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D9394810-09A3-0C49-8860-697E95352875}"/>
                </a:ext>
              </a:extLst>
            </p:cNvPr>
            <p:cNvSpPr/>
            <p:nvPr/>
          </p:nvSpPr>
          <p:spPr>
            <a:xfrm>
              <a:off x="5305575" y="403056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465816BC-994B-7C4E-8F23-A23F16670BD1}"/>
                </a:ext>
              </a:extLst>
            </p:cNvPr>
            <p:cNvCxnSpPr>
              <a:stCxn id="81" idx="7"/>
              <a:endCxn id="84" idx="2"/>
            </p:cNvCxnSpPr>
            <p:nvPr/>
          </p:nvCxnSpPr>
          <p:spPr>
            <a:xfrm flipV="1">
              <a:off x="5143690" y="3810147"/>
              <a:ext cx="380609" cy="94993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92F1D75C-A618-604A-A247-082AA7A0342A}"/>
                </a:ext>
              </a:extLst>
            </p:cNvPr>
            <p:cNvCxnSpPr>
              <a:stCxn id="81" idx="4"/>
              <a:endCxn id="82" idx="0"/>
            </p:cNvCxnSpPr>
            <p:nvPr/>
          </p:nvCxnSpPr>
          <p:spPr>
            <a:xfrm>
              <a:off x="5095452" y="4030567"/>
              <a:ext cx="15961" cy="24686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9E81DB0F-FDB4-E94F-8E1B-4F2524826F29}"/>
                </a:ext>
              </a:extLst>
            </p:cNvPr>
            <p:cNvCxnSpPr>
              <a:stCxn id="85" idx="7"/>
              <a:endCxn id="84" idx="3"/>
            </p:cNvCxnSpPr>
            <p:nvPr/>
          </p:nvCxnSpPr>
          <p:spPr>
            <a:xfrm flipV="1">
              <a:off x="5422033" y="3862100"/>
              <a:ext cx="122247" cy="18998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0312F5AC-07A5-5B44-949B-B9AA32A37A9C}"/>
                </a:ext>
              </a:extLst>
            </p:cNvPr>
            <p:cNvCxnSpPr>
              <a:stCxn id="82" idx="6"/>
              <a:endCxn id="83" idx="2"/>
            </p:cNvCxnSpPr>
            <p:nvPr/>
          </p:nvCxnSpPr>
          <p:spPr>
            <a:xfrm flipV="1">
              <a:off x="5179632" y="4308921"/>
              <a:ext cx="335847" cy="4198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33B8BAF4-678D-A84D-884F-4FD48B04C0CE}"/>
                </a:ext>
              </a:extLst>
            </p:cNvPr>
            <p:cNvCxnSpPr>
              <a:stCxn id="84" idx="4"/>
              <a:endCxn id="83" idx="0"/>
            </p:cNvCxnSpPr>
            <p:nvPr/>
          </p:nvCxnSpPr>
          <p:spPr>
            <a:xfrm flipH="1">
              <a:off x="5583699" y="3883620"/>
              <a:ext cx="8820" cy="35182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B6D50B1-F106-A449-B0C0-3E6BB8C71825}"/>
                </a:ext>
              </a:extLst>
            </p:cNvPr>
            <p:cNvCxnSpPr>
              <a:stCxn id="81" idx="5"/>
              <a:endCxn id="85" idx="1"/>
            </p:cNvCxnSpPr>
            <p:nvPr/>
          </p:nvCxnSpPr>
          <p:spPr>
            <a:xfrm>
              <a:off x="5143690" y="4009047"/>
              <a:ext cx="181866" cy="43040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27A8BE5-DAD6-184F-B86E-E5095416AFF3}"/>
              </a:ext>
            </a:extLst>
          </p:cNvPr>
          <p:cNvGrpSpPr/>
          <p:nvPr/>
        </p:nvGrpSpPr>
        <p:grpSpPr>
          <a:xfrm>
            <a:off x="9289550" y="3384643"/>
            <a:ext cx="1105758" cy="1021947"/>
            <a:chOff x="4795516" y="3591416"/>
            <a:chExt cx="1105758" cy="1021947"/>
          </a:xfrm>
        </p:grpSpPr>
        <p:sp>
          <p:nvSpPr>
            <p:cNvPr id="93" name="Cloud 92">
              <a:extLst>
                <a:ext uri="{FF2B5EF4-FFF2-40B4-BE49-F238E27FC236}">
                  <a16:creationId xmlns:a16="http://schemas.microsoft.com/office/drawing/2014/main" id="{6ADE634F-35B6-9C47-9AD4-0A00905D951A}"/>
                </a:ext>
              </a:extLst>
            </p:cNvPr>
            <p:cNvSpPr/>
            <p:nvPr/>
          </p:nvSpPr>
          <p:spPr>
            <a:xfrm>
              <a:off x="4795516" y="3591416"/>
              <a:ext cx="1105758" cy="1021947"/>
            </a:xfrm>
            <a:prstGeom prst="cloud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258A1407-90CF-974A-BD43-838FC0901CE4}"/>
                </a:ext>
              </a:extLst>
            </p:cNvPr>
            <p:cNvSpPr/>
            <p:nvPr/>
          </p:nvSpPr>
          <p:spPr>
            <a:xfrm>
              <a:off x="5027232" y="3883620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C438B4B4-2BD5-D242-A1D2-206F9E0C2E08}"/>
                </a:ext>
              </a:extLst>
            </p:cNvPr>
            <p:cNvSpPr/>
            <p:nvPr/>
          </p:nvSpPr>
          <p:spPr>
            <a:xfrm>
              <a:off x="5043193" y="4277435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C6695418-797F-ED4E-9EE9-2755A06B319E}"/>
                </a:ext>
              </a:extLst>
            </p:cNvPr>
            <p:cNvSpPr/>
            <p:nvPr/>
          </p:nvSpPr>
          <p:spPr>
            <a:xfrm>
              <a:off x="5515479" y="423544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553B4F8F-A8FD-4240-B05F-EF893F88F0CB}"/>
                </a:ext>
              </a:extLst>
            </p:cNvPr>
            <p:cNvSpPr/>
            <p:nvPr/>
          </p:nvSpPr>
          <p:spPr>
            <a:xfrm>
              <a:off x="5524299" y="3736673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16430F9D-0F50-C642-8406-169A5A397481}"/>
                </a:ext>
              </a:extLst>
            </p:cNvPr>
            <p:cNvSpPr/>
            <p:nvPr/>
          </p:nvSpPr>
          <p:spPr>
            <a:xfrm>
              <a:off x="5305575" y="4030567"/>
              <a:ext cx="136439" cy="146947"/>
            </a:xfrm>
            <a:prstGeom prst="ellipse">
              <a:avLst/>
            </a:prstGeom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EABA194-600D-9F46-968A-C70C5A23A573}"/>
                </a:ext>
              </a:extLst>
            </p:cNvPr>
            <p:cNvCxnSpPr>
              <a:stCxn id="94" idx="7"/>
              <a:endCxn id="97" idx="2"/>
            </p:cNvCxnSpPr>
            <p:nvPr/>
          </p:nvCxnSpPr>
          <p:spPr>
            <a:xfrm flipV="1">
              <a:off x="5143690" y="3810147"/>
              <a:ext cx="380609" cy="94993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2A9902E-BADE-BE42-A728-65CC34EA0194}"/>
                </a:ext>
              </a:extLst>
            </p:cNvPr>
            <p:cNvCxnSpPr>
              <a:stCxn id="94" idx="4"/>
              <a:endCxn id="95" idx="0"/>
            </p:cNvCxnSpPr>
            <p:nvPr/>
          </p:nvCxnSpPr>
          <p:spPr>
            <a:xfrm>
              <a:off x="5095452" y="4030567"/>
              <a:ext cx="15961" cy="24686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4ED569F9-9B15-2147-9CAC-957EF3CC1FDB}"/>
                </a:ext>
              </a:extLst>
            </p:cNvPr>
            <p:cNvCxnSpPr>
              <a:stCxn id="98" idx="7"/>
              <a:endCxn id="97" idx="3"/>
            </p:cNvCxnSpPr>
            <p:nvPr/>
          </p:nvCxnSpPr>
          <p:spPr>
            <a:xfrm flipV="1">
              <a:off x="5422033" y="3862100"/>
              <a:ext cx="122247" cy="18998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72EFAAE4-786D-2543-8863-C5D08EA5796F}"/>
                </a:ext>
              </a:extLst>
            </p:cNvPr>
            <p:cNvCxnSpPr>
              <a:stCxn id="95" idx="6"/>
              <a:endCxn id="96" idx="2"/>
            </p:cNvCxnSpPr>
            <p:nvPr/>
          </p:nvCxnSpPr>
          <p:spPr>
            <a:xfrm flipV="1">
              <a:off x="5179632" y="4308921"/>
              <a:ext cx="335847" cy="41988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551ED9C-8695-9148-90C6-1A82CB46AB89}"/>
                </a:ext>
              </a:extLst>
            </p:cNvPr>
            <p:cNvCxnSpPr>
              <a:stCxn id="97" idx="4"/>
              <a:endCxn id="96" idx="0"/>
            </p:cNvCxnSpPr>
            <p:nvPr/>
          </p:nvCxnSpPr>
          <p:spPr>
            <a:xfrm flipH="1">
              <a:off x="5583699" y="3883620"/>
              <a:ext cx="8820" cy="351827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15C9A73A-F81C-2A43-BDA6-1DBA19D2F9F1}"/>
                </a:ext>
              </a:extLst>
            </p:cNvPr>
            <p:cNvCxnSpPr>
              <a:stCxn id="94" idx="5"/>
              <a:endCxn id="98" idx="1"/>
            </p:cNvCxnSpPr>
            <p:nvPr/>
          </p:nvCxnSpPr>
          <p:spPr>
            <a:xfrm>
              <a:off x="5143690" y="4009047"/>
              <a:ext cx="181866" cy="43040"/>
            </a:xfrm>
            <a:prstGeom prst="line">
              <a:avLst/>
            </a:prstGeom>
            <a:ln w="9525" cmpd="sng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A9730EC0-4FDB-9B45-8BE5-CD7FAC101588}"/>
              </a:ext>
            </a:extLst>
          </p:cNvPr>
          <p:cNvCxnSpPr/>
          <p:nvPr/>
        </p:nvCxnSpPr>
        <p:spPr>
          <a:xfrm flipV="1">
            <a:off x="6691050" y="2445344"/>
            <a:ext cx="720807" cy="1146346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92CDB18-8CE9-B840-80ED-010FC4F48AD9}"/>
              </a:ext>
            </a:extLst>
          </p:cNvPr>
          <p:cNvCxnSpPr>
            <a:stCxn id="80" idx="3"/>
            <a:endCxn id="55" idx="2"/>
          </p:cNvCxnSpPr>
          <p:nvPr/>
        </p:nvCxnSpPr>
        <p:spPr>
          <a:xfrm flipV="1">
            <a:off x="8101447" y="2445344"/>
            <a:ext cx="4573" cy="455989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15EB5FA1-73AA-7446-BD49-8B621F58B644}"/>
              </a:ext>
            </a:extLst>
          </p:cNvPr>
          <p:cNvCxnSpPr/>
          <p:nvPr/>
        </p:nvCxnSpPr>
        <p:spPr>
          <a:xfrm flipH="1" flipV="1">
            <a:off x="8872886" y="2445346"/>
            <a:ext cx="800780" cy="995472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ight Bracket 107">
            <a:extLst>
              <a:ext uri="{FF2B5EF4-FFF2-40B4-BE49-F238E27FC236}">
                <a16:creationId xmlns:a16="http://schemas.microsoft.com/office/drawing/2014/main" id="{06C3B225-C2D4-C342-B763-BE3C55A18BC4}"/>
              </a:ext>
            </a:extLst>
          </p:cNvPr>
          <p:cNvSpPr/>
          <p:nvPr/>
        </p:nvSpPr>
        <p:spPr>
          <a:xfrm>
            <a:off x="10672613" y="1138694"/>
            <a:ext cx="166782" cy="1306650"/>
          </a:xfrm>
          <a:prstGeom prst="rightBracket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ight Bracket 108">
            <a:extLst>
              <a:ext uri="{FF2B5EF4-FFF2-40B4-BE49-F238E27FC236}">
                <a16:creationId xmlns:a16="http://schemas.microsoft.com/office/drawing/2014/main" id="{11ACF6C5-F5E2-7847-9564-E076BA30EA2C}"/>
              </a:ext>
            </a:extLst>
          </p:cNvPr>
          <p:cNvSpPr/>
          <p:nvPr/>
        </p:nvSpPr>
        <p:spPr>
          <a:xfrm>
            <a:off x="10672613" y="2818564"/>
            <a:ext cx="166782" cy="1795073"/>
          </a:xfrm>
          <a:prstGeom prst="rightBracket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D55FA316-4538-194E-9602-5BB74C053D42}"/>
              </a:ext>
            </a:extLst>
          </p:cNvPr>
          <p:cNvSpPr txBox="1"/>
          <p:nvPr/>
        </p:nvSpPr>
        <p:spPr>
          <a:xfrm>
            <a:off x="7718915" y="1755498"/>
            <a:ext cx="7362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loud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D00E4F16-B62C-A54E-95E4-FE9A9D9DCC5D}"/>
              </a:ext>
            </a:extLst>
          </p:cNvPr>
          <p:cNvSpPr txBox="1"/>
          <p:nvPr/>
        </p:nvSpPr>
        <p:spPr>
          <a:xfrm>
            <a:off x="8136007" y="3780827"/>
            <a:ext cx="10994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Fog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6767C5D2-7DA8-DF4E-AC53-F46361640051}"/>
              </a:ext>
            </a:extLst>
          </p:cNvPr>
          <p:cNvCxnSpPr>
            <a:endCxn id="80" idx="1"/>
          </p:cNvCxnSpPr>
          <p:nvPr/>
        </p:nvCxnSpPr>
        <p:spPr>
          <a:xfrm flipH="1" flipV="1">
            <a:off x="8101447" y="3863761"/>
            <a:ext cx="4573" cy="87395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A01763DA-8D72-A545-A9A2-542153B5255F}"/>
              </a:ext>
            </a:extLst>
          </p:cNvPr>
          <p:cNvCxnSpPr/>
          <p:nvPr/>
        </p:nvCxnSpPr>
        <p:spPr>
          <a:xfrm flipH="1" flipV="1">
            <a:off x="9844015" y="4406591"/>
            <a:ext cx="2218" cy="565172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CA36E36F-4417-FC4C-9B62-BA8BA8423E97}"/>
              </a:ext>
            </a:extLst>
          </p:cNvPr>
          <p:cNvCxnSpPr/>
          <p:nvPr/>
        </p:nvCxnSpPr>
        <p:spPr>
          <a:xfrm flipH="1" flipV="1">
            <a:off x="8654326" y="2445345"/>
            <a:ext cx="739382" cy="271409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5" name="Picture 114">
            <a:extLst>
              <a:ext uri="{FF2B5EF4-FFF2-40B4-BE49-F238E27FC236}">
                <a16:creationId xmlns:a16="http://schemas.microsoft.com/office/drawing/2014/main" id="{D174067E-1C98-1C41-8B2F-FE690E12A49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19000"/>
          </a:blip>
          <a:stretch>
            <a:fillRect/>
          </a:stretch>
        </p:blipFill>
        <p:spPr>
          <a:xfrm>
            <a:off x="5957010" y="4689599"/>
            <a:ext cx="839144" cy="839144"/>
          </a:xfrm>
          <a:prstGeom prst="rect">
            <a:avLst/>
          </a:prstGeom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EC72F35-70AC-8C4A-BDEC-2999A3491677}"/>
              </a:ext>
            </a:extLst>
          </p:cNvPr>
          <p:cNvGrpSpPr/>
          <p:nvPr/>
        </p:nvGrpSpPr>
        <p:grpSpPr>
          <a:xfrm>
            <a:off x="6929573" y="4707802"/>
            <a:ext cx="2075428" cy="967134"/>
            <a:chOff x="4487249" y="4128365"/>
            <a:chExt cx="2075428" cy="967134"/>
          </a:xfrm>
        </p:grpSpPr>
        <p:pic>
          <p:nvPicPr>
            <p:cNvPr id="117" name="Picture 116">
              <a:extLst>
                <a:ext uri="{FF2B5EF4-FFF2-40B4-BE49-F238E27FC236}">
                  <a16:creationId xmlns:a16="http://schemas.microsoft.com/office/drawing/2014/main" id="{71BC9E42-ABCF-AB40-92A4-ED08A534E0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19000"/>
            </a:blip>
            <a:stretch>
              <a:fillRect/>
            </a:stretch>
          </p:blipFill>
          <p:spPr>
            <a:xfrm>
              <a:off x="4487249" y="4288728"/>
              <a:ext cx="372488" cy="372488"/>
            </a:xfrm>
            <a:prstGeom prst="rect">
              <a:avLst/>
            </a:prstGeom>
          </p:spPr>
        </p:pic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A3EEE0BF-F9FC-FF49-93DD-010D48817C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alphaModFix amt="19000"/>
            </a:blip>
            <a:stretch>
              <a:fillRect/>
            </a:stretch>
          </p:blipFill>
          <p:spPr>
            <a:xfrm>
              <a:off x="5629162" y="4158274"/>
              <a:ext cx="933515" cy="933515"/>
            </a:xfrm>
            <a:prstGeom prst="rect">
              <a:avLst/>
            </a:prstGeom>
          </p:spPr>
        </p:pic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27E2D060-A38B-B24D-B63C-EC87A8FBB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19000"/>
            </a:blip>
            <a:stretch>
              <a:fillRect/>
            </a:stretch>
          </p:blipFill>
          <p:spPr>
            <a:xfrm flipH="1">
              <a:off x="4832757" y="4128365"/>
              <a:ext cx="787082" cy="690008"/>
            </a:xfrm>
            <a:prstGeom prst="rect">
              <a:avLst/>
            </a:prstGeom>
          </p:spPr>
        </p:pic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74FA692B-2202-6D4B-80FF-762BD503199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alphaModFix amt="19000"/>
            </a:blip>
            <a:stretch>
              <a:fillRect/>
            </a:stretch>
          </p:blipFill>
          <p:spPr>
            <a:xfrm>
              <a:off x="4659930" y="4623859"/>
              <a:ext cx="471640" cy="471640"/>
            </a:xfrm>
            <a:prstGeom prst="rect">
              <a:avLst/>
            </a:prstGeom>
          </p:spPr>
        </p:pic>
      </p:grpSp>
      <p:pic>
        <p:nvPicPr>
          <p:cNvPr id="121" name="Picture 120">
            <a:extLst>
              <a:ext uri="{FF2B5EF4-FFF2-40B4-BE49-F238E27FC236}">
                <a16:creationId xmlns:a16="http://schemas.microsoft.com/office/drawing/2014/main" id="{503DA254-FDD5-454B-BCA5-4754B4F99A51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19000"/>
          </a:blip>
          <a:stretch>
            <a:fillRect/>
          </a:stretch>
        </p:blipFill>
        <p:spPr>
          <a:xfrm>
            <a:off x="10000824" y="4899731"/>
            <a:ext cx="616184" cy="616184"/>
          </a:xfrm>
          <a:prstGeom prst="rect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ACCE8287-C4BE-394F-8ADC-A6874845236A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19000"/>
          </a:blip>
          <a:stretch>
            <a:fillRect/>
          </a:stretch>
        </p:blipFill>
        <p:spPr>
          <a:xfrm>
            <a:off x="9270496" y="4892837"/>
            <a:ext cx="658909" cy="658909"/>
          </a:xfrm>
          <a:prstGeom prst="rect">
            <a:avLst/>
          </a:prstGeom>
        </p:spPr>
      </p:pic>
      <p:sp>
        <p:nvSpPr>
          <p:cNvPr id="123" name="Right Bracket 122">
            <a:extLst>
              <a:ext uri="{FF2B5EF4-FFF2-40B4-BE49-F238E27FC236}">
                <a16:creationId xmlns:a16="http://schemas.microsoft.com/office/drawing/2014/main" id="{F8C9F4F5-EAC1-774E-A301-87600F95D1C4}"/>
              </a:ext>
            </a:extLst>
          </p:cNvPr>
          <p:cNvSpPr/>
          <p:nvPr/>
        </p:nvSpPr>
        <p:spPr>
          <a:xfrm>
            <a:off x="10671063" y="4689599"/>
            <a:ext cx="168332" cy="887646"/>
          </a:xfrm>
          <a:prstGeom prst="rightBracket">
            <a:avLst/>
          </a:prstGeom>
          <a:ln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F9F7B6A-2D38-6E49-8A19-48493786BE11}"/>
              </a:ext>
            </a:extLst>
          </p:cNvPr>
          <p:cNvSpPr txBox="1"/>
          <p:nvPr/>
        </p:nvSpPr>
        <p:spPr>
          <a:xfrm>
            <a:off x="6376582" y="5477702"/>
            <a:ext cx="36149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Edge</a:t>
            </a:r>
            <a:br>
              <a:rPr lang="en-US" sz="1400" dirty="0"/>
            </a:br>
            <a:r>
              <a:rPr lang="en-US" sz="1400" dirty="0"/>
              <a:t>(Sensors, Actuators)</a:t>
            </a: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5CA0D277-83F0-994A-B8E6-F1DCFC9240B6}"/>
              </a:ext>
            </a:extLst>
          </p:cNvPr>
          <p:cNvSpPr/>
          <p:nvPr/>
        </p:nvSpPr>
        <p:spPr>
          <a:xfrm>
            <a:off x="6037563" y="5034008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2091BE67-26A7-C545-98DA-C50CAEBB9595}"/>
              </a:ext>
            </a:extLst>
          </p:cNvPr>
          <p:cNvSpPr/>
          <p:nvPr/>
        </p:nvSpPr>
        <p:spPr>
          <a:xfrm>
            <a:off x="6260955" y="5348902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C6FD7C1C-CA58-B542-B66A-079E0EA70A38}"/>
              </a:ext>
            </a:extLst>
          </p:cNvPr>
          <p:cNvSpPr/>
          <p:nvPr/>
        </p:nvSpPr>
        <p:spPr>
          <a:xfrm>
            <a:off x="6533015" y="5236513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1CEFA844-9ADF-014C-86EC-297B65CCDEAE}"/>
              </a:ext>
            </a:extLst>
          </p:cNvPr>
          <p:cNvSpPr/>
          <p:nvPr/>
        </p:nvSpPr>
        <p:spPr>
          <a:xfrm>
            <a:off x="7045689" y="4846445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E6CAACBD-8709-2540-A90A-AD2CF8BC63F0}"/>
              </a:ext>
            </a:extLst>
          </p:cNvPr>
          <p:cNvSpPr/>
          <p:nvPr/>
        </p:nvSpPr>
        <p:spPr>
          <a:xfrm>
            <a:off x="7319823" y="5014369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13953282-BD88-7F47-960E-70609C6AFA7A}"/>
              </a:ext>
            </a:extLst>
          </p:cNvPr>
          <p:cNvSpPr/>
          <p:nvPr/>
        </p:nvSpPr>
        <p:spPr>
          <a:xfrm>
            <a:off x="7275418" y="5353057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F7E67E3A-14A4-2F4A-8B39-DE481738A402}"/>
              </a:ext>
            </a:extLst>
          </p:cNvPr>
          <p:cNvSpPr/>
          <p:nvPr/>
        </p:nvSpPr>
        <p:spPr>
          <a:xfrm>
            <a:off x="7805126" y="5129822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70047D40-77CC-1B49-A021-87F8FF10075C}"/>
              </a:ext>
            </a:extLst>
          </p:cNvPr>
          <p:cNvSpPr/>
          <p:nvPr/>
        </p:nvSpPr>
        <p:spPr>
          <a:xfrm>
            <a:off x="8532035" y="4971763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7DCFD716-FC8B-1246-9402-88FBFBD10192}"/>
              </a:ext>
            </a:extLst>
          </p:cNvPr>
          <p:cNvSpPr/>
          <p:nvPr/>
        </p:nvSpPr>
        <p:spPr>
          <a:xfrm>
            <a:off x="8195066" y="5261947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75C14754-93A0-8A45-B347-E490076BE533}"/>
              </a:ext>
            </a:extLst>
          </p:cNvPr>
          <p:cNvSpPr/>
          <p:nvPr/>
        </p:nvSpPr>
        <p:spPr>
          <a:xfrm>
            <a:off x="9393708" y="5258489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54C76D05-F06C-1241-A042-A469C91ECDFE}"/>
              </a:ext>
            </a:extLst>
          </p:cNvPr>
          <p:cNvSpPr/>
          <p:nvPr/>
        </p:nvSpPr>
        <p:spPr>
          <a:xfrm>
            <a:off x="9749151" y="5089566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9AF3B0D0-BF6B-4042-A503-567DF5BB622B}"/>
              </a:ext>
            </a:extLst>
          </p:cNvPr>
          <p:cNvSpPr/>
          <p:nvPr/>
        </p:nvSpPr>
        <p:spPr>
          <a:xfrm>
            <a:off x="10195565" y="5308778"/>
            <a:ext cx="136439" cy="146947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FE7A8351-90BF-D649-9FA2-C2637313810A}"/>
              </a:ext>
            </a:extLst>
          </p:cNvPr>
          <p:cNvCxnSpPr>
            <a:stCxn id="125" idx="5"/>
            <a:endCxn id="126" idx="1"/>
          </p:cNvCxnSpPr>
          <p:nvPr/>
        </p:nvCxnSpPr>
        <p:spPr>
          <a:xfrm>
            <a:off x="6154021" y="5159435"/>
            <a:ext cx="126915" cy="210987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8257435C-B909-B24B-95FD-2FC10E4A50FC}"/>
              </a:ext>
            </a:extLst>
          </p:cNvPr>
          <p:cNvCxnSpPr>
            <a:stCxn id="126" idx="6"/>
            <a:endCxn id="127" idx="3"/>
          </p:cNvCxnSpPr>
          <p:nvPr/>
        </p:nvCxnSpPr>
        <p:spPr>
          <a:xfrm flipV="1">
            <a:off x="6397394" y="5361940"/>
            <a:ext cx="155602" cy="60436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058B325D-54E4-C84B-ABEC-0DE3BC2A8D82}"/>
              </a:ext>
            </a:extLst>
          </p:cNvPr>
          <p:cNvCxnSpPr>
            <a:stCxn id="125" idx="6"/>
            <a:endCxn id="127" idx="1"/>
          </p:cNvCxnSpPr>
          <p:nvPr/>
        </p:nvCxnSpPr>
        <p:spPr>
          <a:xfrm>
            <a:off x="6174002" y="5107482"/>
            <a:ext cx="378994" cy="150551"/>
          </a:xfrm>
          <a:prstGeom prst="line">
            <a:avLst/>
          </a:prstGeom>
          <a:ln w="12700" cmpd="sng">
            <a:solidFill>
              <a:schemeClr val="accent3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CF6EE802-816F-7347-824A-2D73565214E1}"/>
              </a:ext>
            </a:extLst>
          </p:cNvPr>
          <p:cNvCxnSpPr>
            <a:stCxn id="129" idx="6"/>
            <a:endCxn id="131" idx="2"/>
          </p:cNvCxnSpPr>
          <p:nvPr/>
        </p:nvCxnSpPr>
        <p:spPr>
          <a:xfrm>
            <a:off x="7456262" y="5087843"/>
            <a:ext cx="348864" cy="115453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DE0D20C8-2EF8-FA46-8895-DEBF7BB3B285}"/>
              </a:ext>
            </a:extLst>
          </p:cNvPr>
          <p:cNvCxnSpPr>
            <a:stCxn id="133" idx="7"/>
            <a:endCxn id="132" idx="3"/>
          </p:cNvCxnSpPr>
          <p:nvPr/>
        </p:nvCxnSpPr>
        <p:spPr>
          <a:xfrm flipV="1">
            <a:off x="8311524" y="5097190"/>
            <a:ext cx="240492" cy="186277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74772D50-881C-4A4C-BE2C-F85D71C3E1D3}"/>
              </a:ext>
            </a:extLst>
          </p:cNvPr>
          <p:cNvCxnSpPr>
            <a:stCxn id="130" idx="1"/>
            <a:endCxn id="128" idx="4"/>
          </p:cNvCxnSpPr>
          <p:nvPr/>
        </p:nvCxnSpPr>
        <p:spPr>
          <a:xfrm flipH="1" flipV="1">
            <a:off x="7113909" y="4993392"/>
            <a:ext cx="181490" cy="381185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FBE27A79-EBCC-1344-8808-3438EF57789A}"/>
              </a:ext>
            </a:extLst>
          </p:cNvPr>
          <p:cNvCxnSpPr>
            <a:stCxn id="135" idx="5"/>
            <a:endCxn id="136" idx="2"/>
          </p:cNvCxnSpPr>
          <p:nvPr/>
        </p:nvCxnSpPr>
        <p:spPr>
          <a:xfrm>
            <a:off x="9865609" y="5214993"/>
            <a:ext cx="329956" cy="167259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AC470264-A408-5E46-A4D2-C7594ADFC296}"/>
              </a:ext>
            </a:extLst>
          </p:cNvPr>
          <p:cNvCxnSpPr>
            <a:stCxn id="134" idx="6"/>
            <a:endCxn id="135" idx="3"/>
          </p:cNvCxnSpPr>
          <p:nvPr/>
        </p:nvCxnSpPr>
        <p:spPr>
          <a:xfrm flipV="1">
            <a:off x="9530147" y="5214993"/>
            <a:ext cx="238985" cy="116970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55BA25C7-11DB-724E-98E8-2A14E760EEA3}"/>
              </a:ext>
            </a:extLst>
          </p:cNvPr>
          <p:cNvCxnSpPr>
            <a:stCxn id="134" idx="6"/>
            <a:endCxn id="136" idx="2"/>
          </p:cNvCxnSpPr>
          <p:nvPr/>
        </p:nvCxnSpPr>
        <p:spPr>
          <a:xfrm>
            <a:off x="9530147" y="5331963"/>
            <a:ext cx="665418" cy="50289"/>
          </a:xfrm>
          <a:prstGeom prst="line">
            <a:avLst/>
          </a:prstGeom>
          <a:ln w="12700" cmpd="sng">
            <a:solidFill>
              <a:srgbClr val="558140"/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2EEF46B5-8FD0-D444-A79E-2439F634D5AB}"/>
              </a:ext>
            </a:extLst>
          </p:cNvPr>
          <p:cNvCxnSpPr/>
          <p:nvPr/>
        </p:nvCxnSpPr>
        <p:spPr>
          <a:xfrm flipV="1">
            <a:off x="7275081" y="2445345"/>
            <a:ext cx="298813" cy="2292366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7D1B132D-249D-504C-9B34-C33452C01806}"/>
              </a:ext>
            </a:extLst>
          </p:cNvPr>
          <p:cNvCxnSpPr/>
          <p:nvPr/>
        </p:nvCxnSpPr>
        <p:spPr>
          <a:xfrm flipH="1" flipV="1">
            <a:off x="6574066" y="4479236"/>
            <a:ext cx="526" cy="554772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68B25094-08FE-1940-839F-76D8855743D5}"/>
              </a:ext>
            </a:extLst>
          </p:cNvPr>
          <p:cNvSpPr txBox="1"/>
          <p:nvPr/>
        </p:nvSpPr>
        <p:spPr>
          <a:xfrm>
            <a:off x="3819211" y="6239044"/>
            <a:ext cx="75093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computing layer tradeoff is between latency, reliability and cost</a:t>
            </a:r>
          </a:p>
        </p:txBody>
      </p:sp>
    </p:spTree>
    <p:extLst>
      <p:ext uri="{BB962C8B-B14F-4D97-AF65-F5344CB8AC3E}">
        <p14:creationId xmlns:p14="http://schemas.microsoft.com/office/powerpoint/2010/main" val="1653237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3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6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9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2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5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6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8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1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4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7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0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6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9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>
                      <p:stCondLst>
                        <p:cond delay="indefinite"/>
                      </p:stCondLst>
                      <p:childTnLst>
                        <p:par>
                          <p:cTn id="149" fill="hold">
                            <p:stCondLst>
                              <p:cond delay="0"/>
                            </p:stCondLst>
                            <p:childTnLst>
                              <p:par>
                                <p:cTn id="15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/>
      <p:bldP spid="52" grpId="0" animBg="1"/>
      <p:bldP spid="53" grpId="0"/>
      <p:bldP spid="108" grpId="0" animBg="1"/>
      <p:bldP spid="109" grpId="0" animBg="1"/>
      <p:bldP spid="110" grpId="0"/>
      <p:bldP spid="111" grpId="0"/>
      <p:bldP spid="123" grpId="0" animBg="1"/>
      <p:bldP spid="124" grpId="0"/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 animBg="1"/>
      <p:bldP spid="134" grpId="0" animBg="1"/>
      <p:bldP spid="135" grpId="0" animBg="1"/>
      <p:bldP spid="13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6937" y="1107739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Smart Application Lay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831944-AB56-8F43-8ADB-A622F76E42F5}"/>
              </a:ext>
            </a:extLst>
          </p:cNvPr>
          <p:cNvSpPr txBox="1"/>
          <p:nvPr/>
        </p:nvSpPr>
        <p:spPr>
          <a:xfrm>
            <a:off x="4098320" y="5975684"/>
            <a:ext cx="75093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Smart Application Layer enables the construction of the IoT Applications</a:t>
            </a: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6741083D-AA4C-4443-BCAC-74266C60DD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4"/>
              </a:ext>
            </a:extLst>
          </a:blip>
          <a:stretch>
            <a:fillRect/>
          </a:stretch>
        </p:blipFill>
        <p:spPr>
          <a:xfrm>
            <a:off x="7853002" y="855063"/>
            <a:ext cx="3153665" cy="1433484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0DC7051E-6F10-0943-8402-397713A781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6"/>
              </a:ext>
            </a:extLst>
          </a:blip>
          <a:stretch>
            <a:fillRect/>
          </a:stretch>
        </p:blipFill>
        <p:spPr>
          <a:xfrm>
            <a:off x="8019471" y="1927514"/>
            <a:ext cx="3971098" cy="242898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90171B1-44B3-374A-9378-D260BE109C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8"/>
              </a:ext>
            </a:extLst>
          </a:blip>
          <a:stretch>
            <a:fillRect/>
          </a:stretch>
        </p:blipFill>
        <p:spPr>
          <a:xfrm>
            <a:off x="4224569" y="2512476"/>
            <a:ext cx="1642127" cy="1642127"/>
          </a:xfrm>
          <a:prstGeom prst="rect">
            <a:avLst/>
          </a:prstGeom>
        </p:spPr>
      </p:pic>
      <p:pic>
        <p:nvPicPr>
          <p:cNvPr id="36" name="Picture 35" descr="A close up of a sign&#10;&#10;Description automatically generated">
            <a:extLst>
              <a:ext uri="{FF2B5EF4-FFF2-40B4-BE49-F238E27FC236}">
                <a16:creationId xmlns:a16="http://schemas.microsoft.com/office/drawing/2014/main" id="{33AF3EC9-A914-BA42-96CE-F17222AF95A2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10"/>
              </a:ext>
            </a:extLst>
          </a:blip>
          <a:stretch>
            <a:fillRect/>
          </a:stretch>
        </p:blipFill>
        <p:spPr>
          <a:xfrm>
            <a:off x="5630267" y="3673260"/>
            <a:ext cx="2565400" cy="2137833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7268D7F-DD01-AE42-A42C-1FF88CC25E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40118" y="4356502"/>
            <a:ext cx="2967567" cy="1226594"/>
          </a:xfrm>
          <a:prstGeom prst="rect">
            <a:avLst/>
          </a:prstGeom>
        </p:spPr>
      </p:pic>
      <p:pic>
        <p:nvPicPr>
          <p:cNvPr id="43" name="Picture 42" descr="A picture containing clipart&#10;&#10;Description automatically generated">
            <a:extLst>
              <a:ext uri="{FF2B5EF4-FFF2-40B4-BE49-F238E27FC236}">
                <a16:creationId xmlns:a16="http://schemas.microsoft.com/office/drawing/2014/main" id="{57E56DA3-A744-B848-955B-BEF75714A34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13"/>
              </a:ext>
            </a:extLst>
          </a:blip>
          <a:stretch>
            <a:fillRect/>
          </a:stretch>
        </p:blipFill>
        <p:spPr>
          <a:xfrm>
            <a:off x="4098320" y="1510915"/>
            <a:ext cx="2959100" cy="77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0978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6C2E80F-49A6-4372-B103-219D417A55E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4096" y="470925"/>
            <a:ext cx="4381009" cy="5892104"/>
          </a:xfrm>
          <a:custGeom>
            <a:avLst/>
            <a:gdLst>
              <a:gd name="connsiteX0" fmla="*/ 0 w 4381009"/>
              <a:gd name="connsiteY0" fmla="*/ 0 h 5892104"/>
              <a:gd name="connsiteX1" fmla="*/ 4157628 w 4381009"/>
              <a:gd name="connsiteY1" fmla="*/ 0 h 5892104"/>
              <a:gd name="connsiteX2" fmla="*/ 4169302 w 4381009"/>
              <a:gd name="connsiteY2" fmla="*/ 68659 h 5892104"/>
              <a:gd name="connsiteX3" fmla="*/ 4191571 w 4381009"/>
              <a:gd name="connsiteY3" fmla="*/ 205472 h 5892104"/>
              <a:gd name="connsiteX4" fmla="*/ 4213368 w 4381009"/>
              <a:gd name="connsiteY4" fmla="*/ 342890 h 5892104"/>
              <a:gd name="connsiteX5" fmla="*/ 4232030 w 4381009"/>
              <a:gd name="connsiteY5" fmla="*/ 480913 h 5892104"/>
              <a:gd name="connsiteX6" fmla="*/ 4250848 w 4381009"/>
              <a:gd name="connsiteY6" fmla="*/ 618332 h 5892104"/>
              <a:gd name="connsiteX7" fmla="*/ 4268412 w 4381009"/>
              <a:gd name="connsiteY7" fmla="*/ 756355 h 5892104"/>
              <a:gd name="connsiteX8" fmla="*/ 4283467 w 4381009"/>
              <a:gd name="connsiteY8" fmla="*/ 892563 h 5892104"/>
              <a:gd name="connsiteX9" fmla="*/ 4297737 w 4381009"/>
              <a:gd name="connsiteY9" fmla="*/ 1030587 h 5892104"/>
              <a:gd name="connsiteX10" fmla="*/ 4310754 w 4381009"/>
              <a:gd name="connsiteY10" fmla="*/ 1168005 h 5892104"/>
              <a:gd name="connsiteX11" fmla="*/ 4322045 w 4381009"/>
              <a:gd name="connsiteY11" fmla="*/ 1303002 h 5892104"/>
              <a:gd name="connsiteX12" fmla="*/ 4333336 w 4381009"/>
              <a:gd name="connsiteY12" fmla="*/ 1439815 h 5892104"/>
              <a:gd name="connsiteX13" fmla="*/ 4342745 w 4381009"/>
              <a:gd name="connsiteY13" fmla="*/ 1574812 h 5892104"/>
              <a:gd name="connsiteX14" fmla="*/ 4350115 w 4381009"/>
              <a:gd name="connsiteY14" fmla="*/ 1709808 h 5892104"/>
              <a:gd name="connsiteX15" fmla="*/ 4357799 w 4381009"/>
              <a:gd name="connsiteY15" fmla="*/ 1844200 h 5892104"/>
              <a:gd name="connsiteX16" fmla="*/ 4364229 w 4381009"/>
              <a:gd name="connsiteY16" fmla="*/ 1977381 h 5892104"/>
              <a:gd name="connsiteX17" fmla="*/ 4368777 w 4381009"/>
              <a:gd name="connsiteY17" fmla="*/ 2109351 h 5892104"/>
              <a:gd name="connsiteX18" fmla="*/ 4372697 w 4381009"/>
              <a:gd name="connsiteY18" fmla="*/ 2241321 h 5892104"/>
              <a:gd name="connsiteX19" fmla="*/ 4376461 w 4381009"/>
              <a:gd name="connsiteY19" fmla="*/ 2372080 h 5892104"/>
              <a:gd name="connsiteX20" fmla="*/ 4378186 w 4381009"/>
              <a:gd name="connsiteY20" fmla="*/ 2501023 h 5892104"/>
              <a:gd name="connsiteX21" fmla="*/ 4380068 w 4381009"/>
              <a:gd name="connsiteY21" fmla="*/ 2629966 h 5892104"/>
              <a:gd name="connsiteX22" fmla="*/ 4381009 w 4381009"/>
              <a:gd name="connsiteY22" fmla="*/ 2757093 h 5892104"/>
              <a:gd name="connsiteX23" fmla="*/ 4380068 w 4381009"/>
              <a:gd name="connsiteY23" fmla="*/ 2883010 h 5892104"/>
              <a:gd name="connsiteX24" fmla="*/ 4380068 w 4381009"/>
              <a:gd name="connsiteY24" fmla="*/ 3007715 h 5892104"/>
              <a:gd name="connsiteX25" fmla="*/ 4378186 w 4381009"/>
              <a:gd name="connsiteY25" fmla="*/ 3131210 h 5892104"/>
              <a:gd name="connsiteX26" fmla="*/ 4375363 w 4381009"/>
              <a:gd name="connsiteY26" fmla="*/ 3252283 h 5892104"/>
              <a:gd name="connsiteX27" fmla="*/ 4372697 w 4381009"/>
              <a:gd name="connsiteY27" fmla="*/ 3372146 h 5892104"/>
              <a:gd name="connsiteX28" fmla="*/ 4369718 w 4381009"/>
              <a:gd name="connsiteY28" fmla="*/ 3489587 h 5892104"/>
              <a:gd name="connsiteX29" fmla="*/ 4365170 w 4381009"/>
              <a:gd name="connsiteY29" fmla="*/ 3606423 h 5892104"/>
              <a:gd name="connsiteX30" fmla="*/ 4360309 w 4381009"/>
              <a:gd name="connsiteY30" fmla="*/ 3721443 h 5892104"/>
              <a:gd name="connsiteX31" fmla="*/ 4355918 w 4381009"/>
              <a:gd name="connsiteY31" fmla="*/ 3834041 h 5892104"/>
              <a:gd name="connsiteX32" fmla="*/ 4343529 w 4381009"/>
              <a:gd name="connsiteY32" fmla="*/ 4053789 h 5892104"/>
              <a:gd name="connsiteX33" fmla="*/ 4330356 w 4381009"/>
              <a:gd name="connsiteY33" fmla="*/ 4264457 h 5892104"/>
              <a:gd name="connsiteX34" fmla="*/ 4316556 w 4381009"/>
              <a:gd name="connsiteY34" fmla="*/ 4466650 h 5892104"/>
              <a:gd name="connsiteX35" fmla="*/ 4301344 w 4381009"/>
              <a:gd name="connsiteY35" fmla="*/ 4657946 h 5892104"/>
              <a:gd name="connsiteX36" fmla="*/ 4285506 w 4381009"/>
              <a:gd name="connsiteY36" fmla="*/ 4840767 h 5892104"/>
              <a:gd name="connsiteX37" fmla="*/ 4268412 w 4381009"/>
              <a:gd name="connsiteY37" fmla="*/ 5010269 h 5892104"/>
              <a:gd name="connsiteX38" fmla="*/ 4251633 w 4381009"/>
              <a:gd name="connsiteY38" fmla="*/ 5169481 h 5892104"/>
              <a:gd name="connsiteX39" fmla="*/ 4234853 w 4381009"/>
              <a:gd name="connsiteY39" fmla="*/ 5315980 h 5892104"/>
              <a:gd name="connsiteX40" fmla="*/ 4219014 w 4381009"/>
              <a:gd name="connsiteY40" fmla="*/ 5450371 h 5892104"/>
              <a:gd name="connsiteX41" fmla="*/ 4203959 w 4381009"/>
              <a:gd name="connsiteY41" fmla="*/ 5569628 h 5892104"/>
              <a:gd name="connsiteX42" fmla="*/ 4189689 w 4381009"/>
              <a:gd name="connsiteY42" fmla="*/ 5677384 h 5892104"/>
              <a:gd name="connsiteX43" fmla="*/ 4177770 w 4381009"/>
              <a:gd name="connsiteY43" fmla="*/ 5768189 h 5892104"/>
              <a:gd name="connsiteX44" fmla="*/ 4166479 w 4381009"/>
              <a:gd name="connsiteY44" fmla="*/ 5844465 h 5892104"/>
              <a:gd name="connsiteX45" fmla="*/ 4159132 w 4381009"/>
              <a:gd name="connsiteY45" fmla="*/ 5892104 h 5892104"/>
              <a:gd name="connsiteX46" fmla="*/ 0 w 4381009"/>
              <a:gd name="connsiteY46" fmla="*/ 5892104 h 589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381009" h="5892104">
                <a:moveTo>
                  <a:pt x="0" y="0"/>
                </a:moveTo>
                <a:lnTo>
                  <a:pt x="4157628" y="0"/>
                </a:lnTo>
                <a:lnTo>
                  <a:pt x="4169302" y="68659"/>
                </a:lnTo>
                <a:lnTo>
                  <a:pt x="4191571" y="205472"/>
                </a:lnTo>
                <a:lnTo>
                  <a:pt x="4213368" y="342890"/>
                </a:lnTo>
                <a:lnTo>
                  <a:pt x="4232030" y="480913"/>
                </a:lnTo>
                <a:lnTo>
                  <a:pt x="4250848" y="618332"/>
                </a:lnTo>
                <a:lnTo>
                  <a:pt x="4268412" y="756355"/>
                </a:lnTo>
                <a:lnTo>
                  <a:pt x="4283467" y="892563"/>
                </a:lnTo>
                <a:lnTo>
                  <a:pt x="4297737" y="1030587"/>
                </a:lnTo>
                <a:lnTo>
                  <a:pt x="4310754" y="1168005"/>
                </a:lnTo>
                <a:lnTo>
                  <a:pt x="4322045" y="1303002"/>
                </a:lnTo>
                <a:lnTo>
                  <a:pt x="4333336" y="1439815"/>
                </a:lnTo>
                <a:lnTo>
                  <a:pt x="4342745" y="1574812"/>
                </a:lnTo>
                <a:lnTo>
                  <a:pt x="4350115" y="1709808"/>
                </a:lnTo>
                <a:lnTo>
                  <a:pt x="4357799" y="1844200"/>
                </a:lnTo>
                <a:lnTo>
                  <a:pt x="4364229" y="1977381"/>
                </a:lnTo>
                <a:lnTo>
                  <a:pt x="4368777" y="2109351"/>
                </a:lnTo>
                <a:lnTo>
                  <a:pt x="4372697" y="2241321"/>
                </a:lnTo>
                <a:lnTo>
                  <a:pt x="4376461" y="2372080"/>
                </a:lnTo>
                <a:lnTo>
                  <a:pt x="4378186" y="2501023"/>
                </a:lnTo>
                <a:lnTo>
                  <a:pt x="4380068" y="2629966"/>
                </a:lnTo>
                <a:lnTo>
                  <a:pt x="4381009" y="2757093"/>
                </a:lnTo>
                <a:lnTo>
                  <a:pt x="4380068" y="2883010"/>
                </a:lnTo>
                <a:lnTo>
                  <a:pt x="4380068" y="3007715"/>
                </a:lnTo>
                <a:lnTo>
                  <a:pt x="4378186" y="3131210"/>
                </a:lnTo>
                <a:lnTo>
                  <a:pt x="4375363" y="3252283"/>
                </a:lnTo>
                <a:lnTo>
                  <a:pt x="4372697" y="3372146"/>
                </a:lnTo>
                <a:lnTo>
                  <a:pt x="4369718" y="3489587"/>
                </a:lnTo>
                <a:lnTo>
                  <a:pt x="4365170" y="3606423"/>
                </a:lnTo>
                <a:lnTo>
                  <a:pt x="4360309" y="3721443"/>
                </a:lnTo>
                <a:lnTo>
                  <a:pt x="4355918" y="3834041"/>
                </a:lnTo>
                <a:lnTo>
                  <a:pt x="4343529" y="4053789"/>
                </a:lnTo>
                <a:lnTo>
                  <a:pt x="4330356" y="4264457"/>
                </a:lnTo>
                <a:lnTo>
                  <a:pt x="4316556" y="4466650"/>
                </a:lnTo>
                <a:lnTo>
                  <a:pt x="4301344" y="4657946"/>
                </a:lnTo>
                <a:lnTo>
                  <a:pt x="4285506" y="4840767"/>
                </a:lnTo>
                <a:lnTo>
                  <a:pt x="4268412" y="5010269"/>
                </a:lnTo>
                <a:lnTo>
                  <a:pt x="4251633" y="5169481"/>
                </a:lnTo>
                <a:lnTo>
                  <a:pt x="4234853" y="5315980"/>
                </a:lnTo>
                <a:lnTo>
                  <a:pt x="4219014" y="5450371"/>
                </a:lnTo>
                <a:lnTo>
                  <a:pt x="4203959" y="5569628"/>
                </a:lnTo>
                <a:lnTo>
                  <a:pt x="4189689" y="5677384"/>
                </a:lnTo>
                <a:lnTo>
                  <a:pt x="4177770" y="5768189"/>
                </a:lnTo>
                <a:lnTo>
                  <a:pt x="4166479" y="5844465"/>
                </a:lnTo>
                <a:lnTo>
                  <a:pt x="4159132" y="5892104"/>
                </a:lnTo>
                <a:lnTo>
                  <a:pt x="0" y="5892104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63029" y="1012004"/>
            <a:ext cx="3416158" cy="4795408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What is this class about</a:t>
            </a:r>
          </a:p>
        </p:txBody>
      </p:sp>
      <p:graphicFrame>
        <p:nvGraphicFramePr>
          <p:cNvPr id="9" name="Text Placeholder 6">
            <a:extLst>
              <a:ext uri="{FF2B5EF4-FFF2-40B4-BE49-F238E27FC236}">
                <a16:creationId xmlns:a16="http://schemas.microsoft.com/office/drawing/2014/main" id="{F0AFADC6-48CB-4FC8-86FB-68C222DD2D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2182101"/>
              </p:ext>
            </p:extLst>
          </p:nvPr>
        </p:nvGraphicFramePr>
        <p:xfrm>
          <a:off x="5194300" y="470924"/>
          <a:ext cx="6513604" cy="58854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E59EBC2-D9C3-8947-BDFF-AE1C9C33F2E2}"/>
              </a:ext>
            </a:extLst>
          </p:cNvPr>
          <p:cNvSpPr/>
          <p:nvPr/>
        </p:nvSpPr>
        <p:spPr>
          <a:xfrm>
            <a:off x="1421476" y="6488668"/>
            <a:ext cx="101830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8"/>
              </a:rPr>
              <a:t>https://</a:t>
            </a:r>
            <a:r>
              <a:rPr lang="en-US" dirty="0" err="1">
                <a:hlinkClick r:id="rId8"/>
              </a:rPr>
              <a:t>github.com</a:t>
            </a:r>
            <a:r>
              <a:rPr lang="en-US" dirty="0">
                <a:hlinkClick r:id="rId8"/>
              </a:rPr>
              <a:t>/vu-resilient-distributed-systems/lectures-fall-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3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6937" y="1107739"/>
            <a:ext cx="2757740" cy="4320476"/>
            <a:chOff x="139908" y="1336339"/>
            <a:chExt cx="2757740" cy="4320476"/>
          </a:xfrm>
        </p:grpSpPr>
        <p:sp>
          <p:nvSpPr>
            <p:cNvPr id="15" name="Rectangle 14"/>
            <p:cNvSpPr/>
            <p:nvPr/>
          </p:nvSpPr>
          <p:spPr bwMode="auto">
            <a:xfrm rot="5400000">
              <a:off x="478797" y="2530236"/>
              <a:ext cx="3329609" cy="15080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 rot="5400000">
              <a:off x="1162296" y="2634413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 rot="4468015">
              <a:off x="777704" y="2827416"/>
              <a:ext cx="1017934" cy="10863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i="1" dirty="0">
                <a:latin typeface="Arial" pitchFamily="-65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45826" y="133633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Human Lay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5826" y="2264563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</a:rPr>
                <a:t>Smart Application Layer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9908" y="322459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Decision Support System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908" y="4188809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Networking Lay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39908" y="5081047"/>
              <a:ext cx="2743200" cy="575768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2060"/>
                  </a:solidFill>
                </a:rPr>
                <a:t>Physical System and Sensors</a:t>
              </a: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50626" y="191210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446557" y="2836157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5" name="Up Arrow 24"/>
            <p:cNvSpPr/>
            <p:nvPr/>
          </p:nvSpPr>
          <p:spPr>
            <a:xfrm>
              <a:off x="456174" y="3780276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6" name="Up Arrow 25"/>
            <p:cNvSpPr/>
            <p:nvPr/>
          </p:nvSpPr>
          <p:spPr>
            <a:xfrm>
              <a:off x="457653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7" name="Up Arrow 26"/>
            <p:cNvSpPr/>
            <p:nvPr/>
          </p:nvSpPr>
          <p:spPr>
            <a:xfrm flipH="1" flipV="1">
              <a:off x="2127026" y="189828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8" name="Up Arrow 27"/>
            <p:cNvSpPr/>
            <p:nvPr/>
          </p:nvSpPr>
          <p:spPr>
            <a:xfrm flipH="1" flipV="1">
              <a:off x="2103722" y="2822338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29" name="Up Arrow 28"/>
            <p:cNvSpPr/>
            <p:nvPr/>
          </p:nvSpPr>
          <p:spPr>
            <a:xfrm flipH="1" flipV="1">
              <a:off x="2103722" y="3819723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30" name="Up Arrow 29"/>
            <p:cNvSpPr/>
            <p:nvPr/>
          </p:nvSpPr>
          <p:spPr>
            <a:xfrm flipH="1" flipV="1">
              <a:off x="2103722" y="4728591"/>
              <a:ext cx="228600" cy="352456"/>
            </a:xfrm>
            <a:prstGeom prst="upArrow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  <a:shade val="30000"/>
                    <a:satMod val="115000"/>
                  </a:schemeClr>
                </a:gs>
                <a:gs pos="50000">
                  <a:schemeClr val="tx2">
                    <a:lumMod val="20000"/>
                    <a:lumOff val="80000"/>
                    <a:shade val="67500"/>
                    <a:satMod val="115000"/>
                  </a:schemeClr>
                </a:gs>
                <a:gs pos="100000">
                  <a:schemeClr val="tx2">
                    <a:lumMod val="20000"/>
                    <a:lumOff val="8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44" name="Title 4">
            <a:extLst>
              <a:ext uri="{FF2B5EF4-FFF2-40B4-BE49-F238E27FC236}">
                <a16:creationId xmlns:a16="http://schemas.microsoft.com/office/drawing/2014/main" id="{AB2284AE-D09D-5C4C-BD12-C98B9C387596}"/>
              </a:ext>
            </a:extLst>
          </p:cNvPr>
          <p:cNvSpPr txBox="1">
            <a:spLocks/>
          </p:cNvSpPr>
          <p:nvPr/>
        </p:nvSpPr>
        <p:spPr>
          <a:xfrm>
            <a:off x="1335315" y="57768"/>
            <a:ext cx="9306884" cy="764526"/>
          </a:xfrm>
          <a:prstGeom prst="rect">
            <a:avLst/>
          </a:prstGeom>
        </p:spPr>
        <p:txBody>
          <a:bodyPr/>
          <a:lstStyle>
            <a:lvl1pPr algn="ctr" defTabSz="3429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33" dirty="0">
                <a:solidFill>
                  <a:srgbClr val="FF0000"/>
                </a:solidFill>
                <a:latin typeface="Tahoma" pitchFamily="34" charset="0"/>
                <a:ea typeface="MS PGothic" pitchFamily="34" charset="-128"/>
                <a:cs typeface="Tahoma" pitchFamily="34" charset="0"/>
              </a:rPr>
              <a:t>Human Lay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831944-AB56-8F43-8ADB-A622F76E42F5}"/>
              </a:ext>
            </a:extLst>
          </p:cNvPr>
          <p:cNvSpPr txBox="1"/>
          <p:nvPr/>
        </p:nvSpPr>
        <p:spPr>
          <a:xfrm>
            <a:off x="4098320" y="5975684"/>
            <a:ext cx="75093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sualization is one of the most critical factor responsible for success/failure of these devic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0B613F-585E-2C45-833D-068D7744E6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7461" y="1779350"/>
            <a:ext cx="7589973" cy="23613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D8D581-95B4-B247-8650-8DF012D0E8AE}"/>
              </a:ext>
            </a:extLst>
          </p:cNvPr>
          <p:cNvSpPr/>
          <p:nvPr/>
        </p:nvSpPr>
        <p:spPr>
          <a:xfrm>
            <a:off x="7577416" y="4168694"/>
            <a:ext cx="6096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900" dirty="0">
                <a:solidFill>
                  <a:srgbClr val="888888"/>
                </a:solidFill>
                <a:latin typeface="Roboto"/>
              </a:rPr>
              <a:t>Bad User Interface - Dilbert Comic Strip on 2018-05-02 | Dilbert by Scott Adam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755935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Le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607" indent="-285607"/>
            <a:r>
              <a:rPr lang="en-US" dirty="0"/>
              <a:t>We are going to review the fundamental concepts of networking.</a:t>
            </a:r>
          </a:p>
          <a:p>
            <a:pPr marL="285607" indent="-285607"/>
            <a:r>
              <a:rPr lang="en-US" dirty="0"/>
              <a:t>There is a reading materials on sockets and internet routing in the repository. Please prepare before the next class. </a:t>
            </a:r>
          </a:p>
        </p:txBody>
      </p:sp>
    </p:spTree>
    <p:extLst>
      <p:ext uri="{BB962C8B-B14F-4D97-AF65-F5344CB8AC3E}">
        <p14:creationId xmlns:p14="http://schemas.microsoft.com/office/powerpoint/2010/main" val="671500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nline Media 4" descr="Russian cyberattack targets Ukrainian power grid; U.S. next?">
            <a:hlinkClick r:id="" action="ppaction://media"/>
            <a:extLst>
              <a:ext uri="{FF2B5EF4-FFF2-40B4-BE49-F238E27FC236}">
                <a16:creationId xmlns:a16="http://schemas.microsoft.com/office/drawing/2014/main" id="{299182E5-BED1-9643-BBCC-E4C9E214862B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16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nline Media 3" descr="Autonomous Resilience Demonstration">
            <a:hlinkClick r:id="" action="ppaction://media"/>
            <a:extLst>
              <a:ext uri="{FF2B5EF4-FFF2-40B4-BE49-F238E27FC236}">
                <a16:creationId xmlns:a16="http://schemas.microsoft.com/office/drawing/2014/main" id="{C048B99E-721D-674A-ABB9-70C7948C52B2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85293" y="160477"/>
            <a:ext cx="11689689" cy="657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748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26736" y="3646734"/>
            <a:ext cx="8817187" cy="2154526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Okay. But what is a distributed system anyways.</a:t>
            </a:r>
          </a:p>
        </p:txBody>
      </p:sp>
    </p:spTree>
    <p:extLst>
      <p:ext uri="{BB962C8B-B14F-4D97-AF65-F5344CB8AC3E}">
        <p14:creationId xmlns:p14="http://schemas.microsoft.com/office/powerpoint/2010/main" val="321552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9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608211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11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8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13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5EF0788-F958-4CE6-AFAD-811A0987F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79" y="2053641"/>
            <a:ext cx="3669161" cy="2760098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What is a distributed system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0079C4F-3761-42B0-8936-B70E379297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0574" y="801866"/>
            <a:ext cx="5306084" cy="5230634"/>
          </a:xfrm>
        </p:spPr>
        <p:txBody>
          <a:bodyPr anchor="ctr">
            <a:normAutofit/>
          </a:bodyPr>
          <a:lstStyle/>
          <a:p>
            <a:r>
              <a:rPr lang="en-US" sz="2200">
                <a:solidFill>
                  <a:srgbClr val="000000"/>
                </a:solidFill>
              </a:rPr>
              <a:t>Before we can answer this, we need to recall somethings</a:t>
            </a:r>
          </a:p>
          <a:p>
            <a:pPr lvl="1"/>
            <a:r>
              <a:rPr lang="en-US" sz="2200">
                <a:solidFill>
                  <a:srgbClr val="000000"/>
                </a:solidFill>
              </a:rPr>
              <a:t>What is a program?</a:t>
            </a:r>
          </a:p>
          <a:p>
            <a:pPr lvl="1"/>
            <a:r>
              <a:rPr lang="en-US" sz="2200">
                <a:solidFill>
                  <a:srgbClr val="000000"/>
                </a:solidFill>
              </a:rPr>
              <a:t>What is a process?</a:t>
            </a:r>
          </a:p>
          <a:p>
            <a:pPr lvl="1"/>
            <a:r>
              <a:rPr lang="en-US" sz="2200">
                <a:solidFill>
                  <a:srgbClr val="000000"/>
                </a:solidFill>
              </a:rPr>
              <a:t>What is a thread?</a:t>
            </a:r>
          </a:p>
          <a:p>
            <a:pPr lvl="1"/>
            <a:r>
              <a:rPr lang="en-US" sz="2200">
                <a:solidFill>
                  <a:srgbClr val="000000"/>
                </a:solidFill>
              </a:rPr>
              <a:t>What is inter-process communication?</a:t>
            </a:r>
          </a:p>
          <a:p>
            <a:pPr lvl="1"/>
            <a:r>
              <a:rPr lang="en-US" sz="2200">
                <a:solidFill>
                  <a:srgbClr val="000000"/>
                </a:solidFill>
              </a:rPr>
              <a:t>Why do we want to run programs on different computers?</a:t>
            </a:r>
          </a:p>
          <a:p>
            <a:pPr lvl="2"/>
            <a:r>
              <a:rPr lang="en-US" sz="2200">
                <a:solidFill>
                  <a:srgbClr val="000000"/>
                </a:solidFill>
              </a:rPr>
              <a:t>Better resource scheduling</a:t>
            </a:r>
          </a:p>
          <a:p>
            <a:pPr lvl="2"/>
            <a:r>
              <a:rPr lang="en-US" sz="2200">
                <a:solidFill>
                  <a:srgbClr val="000000"/>
                </a:solidFill>
              </a:rPr>
              <a:t>Less likelihood of simultaneous failures (this require assumption of no common mode failures – we will discuss this in detail later)</a:t>
            </a:r>
          </a:p>
          <a:p>
            <a:pPr lvl="2"/>
            <a:r>
              <a:rPr lang="en-US" sz="2200">
                <a:solidFill>
                  <a:srgbClr val="000000"/>
                </a:solidFill>
              </a:rPr>
              <a:t>Perhaps we can do tasks efficiently if we are closer to data.</a:t>
            </a:r>
          </a:p>
        </p:txBody>
      </p:sp>
    </p:spTree>
    <p:extLst>
      <p:ext uri="{BB962C8B-B14F-4D97-AF65-F5344CB8AC3E}">
        <p14:creationId xmlns:p14="http://schemas.microsoft.com/office/powerpoint/2010/main" val="3552675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608211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8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D1C247-F3F1-4ADB-ADB3-4977918AE2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79" y="2053641"/>
            <a:ext cx="3669161" cy="2760098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Two properties of a distributed syste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64E217-AFD8-469F-9B17-62F713706B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0574" y="801866"/>
            <a:ext cx="5306084" cy="5230634"/>
          </a:xfrm>
        </p:spPr>
        <p:txBody>
          <a:bodyPr anchor="ctr">
            <a:normAutofit/>
          </a:bodyPr>
          <a:lstStyle/>
          <a:p>
            <a:r>
              <a:rPr lang="en-US" sz="2400">
                <a:solidFill>
                  <a:srgbClr val="000000"/>
                </a:solidFill>
              </a:rPr>
              <a:t>Spatial separation</a:t>
            </a:r>
          </a:p>
          <a:p>
            <a:r>
              <a:rPr lang="en-US" sz="2400">
                <a:solidFill>
                  <a:srgbClr val="000000"/>
                </a:solidFill>
              </a:rPr>
              <a:t>Temporal separation</a:t>
            </a:r>
          </a:p>
          <a:p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9539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0XEiCNlq9k"/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58262" y="131023"/>
            <a:ext cx="11959070" cy="672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170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946</Words>
  <Application>Microsoft Office PowerPoint</Application>
  <PresentationFormat>Widescreen</PresentationFormat>
  <Paragraphs>252</Paragraphs>
  <Slides>31</Slides>
  <Notes>16</Notes>
  <HiddenSlides>0</HiddenSlides>
  <MMClips>6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6" baseType="lpstr">
      <vt:lpstr>Arial Unicode MS</vt:lpstr>
      <vt:lpstr>MS PGothic</vt:lpstr>
      <vt:lpstr>SimSun</vt:lpstr>
      <vt:lpstr>Arial</vt:lpstr>
      <vt:lpstr>Arial Bold</vt:lpstr>
      <vt:lpstr>BMW Type Global Pro Regular</vt:lpstr>
      <vt:lpstr>Calibri</vt:lpstr>
      <vt:lpstr>Calibri Light</vt:lpstr>
      <vt:lpstr>Roboto</vt:lpstr>
      <vt:lpstr>Symbol</vt:lpstr>
      <vt:lpstr>Tahoma</vt:lpstr>
      <vt:lpstr>Times New Roman</vt:lpstr>
      <vt:lpstr>Wingdings</vt:lpstr>
      <vt:lpstr>Office Theme</vt:lpstr>
      <vt:lpstr>think-cell Folie</vt:lpstr>
      <vt:lpstr>Resilient Distributed Systems</vt:lpstr>
      <vt:lpstr>PowerPoint Presentation</vt:lpstr>
      <vt:lpstr>What is this class about</vt:lpstr>
      <vt:lpstr>PowerPoint Presentation</vt:lpstr>
      <vt:lpstr>PowerPoint Presentation</vt:lpstr>
      <vt:lpstr>Okay. But what is a distributed system anyways.</vt:lpstr>
      <vt:lpstr>What is a distributed system.</vt:lpstr>
      <vt:lpstr>Two properties of a distributed system</vt:lpstr>
      <vt:lpstr>PowerPoint Presentation</vt:lpstr>
      <vt:lpstr>Distributed Systems /Internet of Things – Why it Matters?</vt:lpstr>
      <vt:lpstr>Smart Building – Operational Efficiencies</vt:lpstr>
      <vt:lpstr>Integrated Internet of Things is the New Megatrend</vt:lpstr>
      <vt:lpstr>Integrated Internet of Things is the New Megatren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xt Lect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ilient Distributed Systems</dc:title>
  <dc:creator>Dubey, Abhishek</dc:creator>
  <cp:lastModifiedBy>Abhishek Dubey</cp:lastModifiedBy>
  <cp:revision>3</cp:revision>
  <dcterms:created xsi:type="dcterms:W3CDTF">2019-08-22T01:04:31Z</dcterms:created>
  <dcterms:modified xsi:type="dcterms:W3CDTF">2019-08-22T18:34:26Z</dcterms:modified>
</cp:coreProperties>
</file>